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6.xml" ContentType="application/vnd.openxmlformats-officedocument.theme+xml"/>
  <Override PartName="/ppt/tags/tag18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9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0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1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4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tags/tag60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93" r:id="rId2"/>
    <p:sldMasterId id="2147483729" r:id="rId3"/>
    <p:sldMasterId id="2147483740" r:id="rId4"/>
    <p:sldMasterId id="2147483750" r:id="rId5"/>
    <p:sldMasterId id="2147483762" r:id="rId6"/>
    <p:sldMasterId id="2147483801" r:id="rId7"/>
    <p:sldMasterId id="2147483813" r:id="rId8"/>
    <p:sldMasterId id="2147483828" r:id="rId9"/>
    <p:sldMasterId id="2147483843" r:id="rId10"/>
    <p:sldMasterId id="2147483858" r:id="rId11"/>
    <p:sldMasterId id="2147483874" r:id="rId12"/>
    <p:sldMasterId id="2147483890" r:id="rId13"/>
    <p:sldMasterId id="2147483909" r:id="rId14"/>
  </p:sldMasterIdLst>
  <p:notesMasterIdLst>
    <p:notesMasterId r:id="rId30"/>
  </p:notesMasterIdLst>
  <p:handoutMasterIdLst>
    <p:handoutMasterId r:id="rId31"/>
  </p:handoutMasterIdLst>
  <p:sldIdLst>
    <p:sldId id="1061" r:id="rId15"/>
    <p:sldId id="1068" r:id="rId16"/>
    <p:sldId id="1081" r:id="rId17"/>
    <p:sldId id="1074" r:id="rId18"/>
    <p:sldId id="1078" r:id="rId19"/>
    <p:sldId id="1077" r:id="rId20"/>
    <p:sldId id="1062" r:id="rId21"/>
    <p:sldId id="1079" r:id="rId22"/>
    <p:sldId id="1075" r:id="rId23"/>
    <p:sldId id="1047" r:id="rId24"/>
    <p:sldId id="1055" r:id="rId25"/>
    <p:sldId id="1069" r:id="rId26"/>
    <p:sldId id="1064" r:id="rId27"/>
    <p:sldId id="1073" r:id="rId28"/>
    <p:sldId id="1070" r:id="rId29"/>
  </p:sldIdLst>
  <p:sldSz cx="9906000" cy="6858000" type="A4"/>
  <p:notesSz cx="6858000" cy="9947275"/>
  <p:custDataLst>
    <p:tags r:id="rId3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840">
          <p15:clr>
            <a:srgbClr val="A4A3A4"/>
          </p15:clr>
        </p15:guide>
        <p15:guide id="2" orient="horz" pos="2341">
          <p15:clr>
            <a:srgbClr val="A4A3A4"/>
          </p15:clr>
        </p15:guide>
        <p15:guide id="3" orient="horz" pos="2251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3936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73">
          <p15:clr>
            <a:srgbClr val="A4A3A4"/>
          </p15:clr>
        </p15:guide>
        <p15:guide id="8" orient="horz" pos="266">
          <p15:clr>
            <a:srgbClr val="A4A3A4"/>
          </p15:clr>
        </p15:guide>
        <p15:guide id="9" pos="1536">
          <p15:clr>
            <a:srgbClr val="A4A3A4"/>
          </p15:clr>
        </p15:guide>
        <p15:guide id="10" pos="72">
          <p15:clr>
            <a:srgbClr val="A4A3A4"/>
          </p15:clr>
        </p15:guide>
        <p15:guide id="11" pos="312">
          <p15:clr>
            <a:srgbClr val="A4A3A4"/>
          </p15:clr>
        </p15:guide>
        <p15:guide id="12" pos="2664">
          <p15:clr>
            <a:srgbClr val="A4A3A4"/>
          </p15:clr>
        </p15:guide>
        <p15:guide id="13" pos="3817">
          <p15:clr>
            <a:srgbClr val="A4A3A4"/>
          </p15:clr>
        </p15:guide>
        <p15:guide id="14" pos="4290">
          <p15:clr>
            <a:srgbClr val="A4A3A4"/>
          </p15:clr>
        </p15:guide>
        <p15:guide id="15" pos="4752">
          <p15:clr>
            <a:srgbClr val="A4A3A4"/>
          </p15:clr>
        </p15:guide>
        <p15:guide id="16" pos="614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0000"/>
    <a:srgbClr val="00338D"/>
    <a:srgbClr val="7AB800"/>
    <a:srgbClr val="80BEC9"/>
    <a:srgbClr val="BFDEE4"/>
    <a:srgbClr val="C84E00"/>
    <a:srgbClr val="FE0000"/>
    <a:srgbClr val="7E0000"/>
    <a:srgbClr val="600000"/>
    <a:srgbClr val="FF25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59" autoAdjust="0"/>
    <p:restoredTop sz="97715" autoAdjust="0"/>
  </p:normalViewPr>
  <p:slideViewPr>
    <p:cSldViewPr snapToGrid="0" snapToObjects="1">
      <p:cViewPr varScale="1">
        <p:scale>
          <a:sx n="70" d="100"/>
          <a:sy n="70" d="100"/>
        </p:scale>
        <p:origin x="1098" y="72"/>
      </p:cViewPr>
      <p:guideLst>
        <p:guide orient="horz" pos="3840"/>
        <p:guide orient="horz" pos="2341"/>
        <p:guide orient="horz" pos="2251"/>
        <p:guide orient="horz" pos="754"/>
        <p:guide orient="horz" pos="3936"/>
        <p:guide orient="horz"/>
        <p:guide orient="horz" pos="73"/>
        <p:guide orient="horz" pos="266"/>
        <p:guide pos="1536"/>
        <p:guide pos="72"/>
        <p:guide pos="312"/>
        <p:guide pos="2664"/>
        <p:guide pos="3817"/>
        <p:guide pos="4290"/>
        <p:guide pos="4752"/>
        <p:guide pos="6144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246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exHv\Desktop\&#1057;&#1074;&#1077;&#1090;&#1072;\&#1072;&#1076;&#1084;&#1080;&#1085;&#1080;&#1089;&#1090;&#1088;&#1072;&#1094;&#1080;&#1103;\&#1056;&#1077;&#1081;&#1090;&#1080;&#1085;&#1075;%20&#1048;&#1054;.xl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Hv\Desktop\&#1056;&#1077;&#1081;&#1090;&#1080;&#1085;&#1075;%20&#1048;&#1054;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Hv\Desktop\&#1056;&#1077;&#1081;&#1090;&#1080;&#1085;&#1075;%20&#1048;&#1054;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Hv\Desktop\&#1056;&#1077;&#1081;&#1090;&#1080;&#1085;&#1075;%20&#1048;&#1054;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Hv\Desktop\&#1057;&#1074;&#1077;&#1090;&#1072;\&#1072;&#1076;&#1084;&#1080;&#1085;&#1080;&#1089;&#1090;&#1088;&#1072;&#1094;&#1080;&#1103;\&#1056;&#1077;&#1081;&#1090;&#1080;&#1085;&#1075;%20&#1048;&#1054;.xls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exHv\Desktop\&#1050;&#1086;&#1087;&#1080;&#1103;%20&#1060;&#1054;&#1056;&#1059;&#1052;%20&#1084;&#1072;&#1090;&#1077;&#1088;&#1080;&#1072;&#1083;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структура!$A$40</c:f>
          <c:strCache>
            <c:ptCount val="1"/>
            <c:pt idx="0">
              <c:v>Структура субъектов МСП по видам экономической деятельности (%)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1.638855780691301E-2"/>
          <c:y val="0"/>
          <c:w val="0.79979880904338774"/>
          <c:h val="0.915072284311235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структура!$A$43</c:f>
              <c:strCache>
                <c:ptCount val="1"/>
                <c:pt idx="0">
                  <c:v>сельское хозяйство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труктура!$B$42:$E$42</c:f>
              <c:strCache>
                <c:ptCount val="4"/>
                <c:pt idx="0">
                  <c:v>средние</c:v>
                </c:pt>
                <c:pt idx="1">
                  <c:v>малые </c:v>
                </c:pt>
                <c:pt idx="2">
                  <c:v>микро</c:v>
                </c:pt>
                <c:pt idx="3">
                  <c:v>ИП</c:v>
                </c:pt>
              </c:strCache>
            </c:strRef>
          </c:cat>
          <c:val>
            <c:numRef>
              <c:f>структура!$B$43:$E$43</c:f>
              <c:numCache>
                <c:formatCode>0.0%</c:formatCode>
                <c:ptCount val="4"/>
                <c:pt idx="0">
                  <c:v>8.4000000000000047E-2</c:v>
                </c:pt>
                <c:pt idx="1">
                  <c:v>4.5999999999999999E-2</c:v>
                </c:pt>
                <c:pt idx="2">
                  <c:v>3.2000000000000028E-2</c:v>
                </c:pt>
                <c:pt idx="3">
                  <c:v>4.0000000000000022E-2</c:v>
                </c:pt>
              </c:numCache>
            </c:numRef>
          </c:val>
        </c:ser>
        <c:ser>
          <c:idx val="1"/>
          <c:order val="1"/>
          <c:tx>
            <c:strRef>
              <c:f>структура!$A$44</c:f>
              <c:strCache>
                <c:ptCount val="1"/>
                <c:pt idx="0">
                  <c:v>промышленность</c:v>
                </c:pt>
              </c:strCache>
            </c:strRef>
          </c:tx>
          <c:spPr>
            <a:solidFill>
              <a:srgbClr val="7AB8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труктура!$B$42:$E$42</c:f>
              <c:strCache>
                <c:ptCount val="4"/>
                <c:pt idx="0">
                  <c:v>средние</c:v>
                </c:pt>
                <c:pt idx="1">
                  <c:v>малые </c:v>
                </c:pt>
                <c:pt idx="2">
                  <c:v>микро</c:v>
                </c:pt>
                <c:pt idx="3">
                  <c:v>ИП</c:v>
                </c:pt>
              </c:strCache>
            </c:strRef>
          </c:cat>
          <c:val>
            <c:numRef>
              <c:f>структура!$B$44:$E$44</c:f>
              <c:numCache>
                <c:formatCode>0.0%</c:formatCode>
                <c:ptCount val="4"/>
                <c:pt idx="0">
                  <c:v>0.255</c:v>
                </c:pt>
                <c:pt idx="1">
                  <c:v>0.16</c:v>
                </c:pt>
                <c:pt idx="2">
                  <c:v>8.4000000000000047E-2</c:v>
                </c:pt>
                <c:pt idx="3">
                  <c:v>3.500000000000001E-2</c:v>
                </c:pt>
              </c:numCache>
            </c:numRef>
          </c:val>
        </c:ser>
        <c:ser>
          <c:idx val="2"/>
          <c:order val="2"/>
          <c:tx>
            <c:strRef>
              <c:f>структура!$A$45</c:f>
              <c:strCache>
                <c:ptCount val="1"/>
                <c:pt idx="0">
                  <c:v>строительство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труктура!$B$42:$E$42</c:f>
              <c:strCache>
                <c:ptCount val="4"/>
                <c:pt idx="0">
                  <c:v>средние</c:v>
                </c:pt>
                <c:pt idx="1">
                  <c:v>малые </c:v>
                </c:pt>
                <c:pt idx="2">
                  <c:v>микро</c:v>
                </c:pt>
                <c:pt idx="3">
                  <c:v>ИП</c:v>
                </c:pt>
              </c:strCache>
            </c:strRef>
          </c:cat>
          <c:val>
            <c:numRef>
              <c:f>структура!$B$45:$E$45</c:f>
              <c:numCache>
                <c:formatCode>0.0%</c:formatCode>
                <c:ptCount val="4"/>
                <c:pt idx="0">
                  <c:v>0.16400000000000001</c:v>
                </c:pt>
                <c:pt idx="1">
                  <c:v>0.12000000000000002</c:v>
                </c:pt>
                <c:pt idx="2">
                  <c:v>0.115</c:v>
                </c:pt>
                <c:pt idx="3">
                  <c:v>2.3E-2</c:v>
                </c:pt>
              </c:numCache>
            </c:numRef>
          </c:val>
        </c:ser>
        <c:ser>
          <c:idx val="3"/>
          <c:order val="3"/>
          <c:tx>
            <c:strRef>
              <c:f>структура!$A$46</c:f>
              <c:strCache>
                <c:ptCount val="1"/>
                <c:pt idx="0">
                  <c:v>торговля 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труктура!$B$42:$E$42</c:f>
              <c:strCache>
                <c:ptCount val="4"/>
                <c:pt idx="0">
                  <c:v>средние</c:v>
                </c:pt>
                <c:pt idx="1">
                  <c:v>малые </c:v>
                </c:pt>
                <c:pt idx="2">
                  <c:v>микро</c:v>
                </c:pt>
                <c:pt idx="3">
                  <c:v>ИП</c:v>
                </c:pt>
              </c:strCache>
            </c:strRef>
          </c:cat>
          <c:val>
            <c:numRef>
              <c:f>структура!$B$46:$E$46</c:f>
              <c:numCache>
                <c:formatCode>0.0%</c:formatCode>
                <c:ptCount val="4"/>
                <c:pt idx="0">
                  <c:v>0.36200000000000027</c:v>
                </c:pt>
                <c:pt idx="1">
                  <c:v>0.33900000000000036</c:v>
                </c:pt>
                <c:pt idx="2">
                  <c:v>0.40300000000000002</c:v>
                </c:pt>
                <c:pt idx="3">
                  <c:v>0.64500000000000046</c:v>
                </c:pt>
              </c:numCache>
            </c:numRef>
          </c:val>
        </c:ser>
        <c:ser>
          <c:idx val="4"/>
          <c:order val="4"/>
          <c:tx>
            <c:strRef>
              <c:f>структура!$A$47</c:f>
              <c:strCache>
                <c:ptCount val="1"/>
                <c:pt idx="0">
                  <c:v>услуги</c:v>
                </c:pt>
              </c:strCache>
            </c:strRef>
          </c:tx>
          <c:spPr>
            <a:solidFill>
              <a:srgbClr val="8E258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труктура!$B$42:$E$42</c:f>
              <c:strCache>
                <c:ptCount val="4"/>
                <c:pt idx="0">
                  <c:v>средние</c:v>
                </c:pt>
                <c:pt idx="1">
                  <c:v>малые </c:v>
                </c:pt>
                <c:pt idx="2">
                  <c:v>микро</c:v>
                </c:pt>
                <c:pt idx="3">
                  <c:v>ИП</c:v>
                </c:pt>
              </c:strCache>
            </c:strRef>
          </c:cat>
          <c:val>
            <c:numRef>
              <c:f>структура!$B$47:$E$47</c:f>
              <c:numCache>
                <c:formatCode>0.0%</c:formatCode>
                <c:ptCount val="4"/>
                <c:pt idx="0">
                  <c:v>0.13500000000000001</c:v>
                </c:pt>
                <c:pt idx="1">
                  <c:v>0.33500000000000035</c:v>
                </c:pt>
                <c:pt idx="2">
                  <c:v>0.36600000000000027</c:v>
                </c:pt>
                <c:pt idx="3">
                  <c:v>0.257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2376160"/>
        <c:axId val="322376552"/>
      </c:barChart>
      <c:catAx>
        <c:axId val="32237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2376552"/>
        <c:crosses val="autoZero"/>
        <c:auto val="1"/>
        <c:lblAlgn val="ctr"/>
        <c:lblOffset val="100"/>
        <c:noMultiLvlLbl val="0"/>
      </c:catAx>
      <c:valAx>
        <c:axId val="322376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one"/>
        <c:crossAx val="32237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44764626429486"/>
          <c:y val="0.39398777269776813"/>
          <c:w val="0.21988666715888311"/>
          <c:h val="0.324255461010922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[Рейтинг ИО.xls]структура'!$A$2</c:f>
          <c:strCache>
            <c:ptCount val="1"/>
            <c:pt idx="0">
              <c:v>Количество субъектов МСП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5530567414737477E-2"/>
          <c:y val="0.18862110390678988"/>
          <c:w val="0.85835554042935869"/>
          <c:h val="0.6965342461244782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Рейтинг ИО.xls]структура'!$A$4</c:f>
              <c:strCache>
                <c:ptCount val="1"/>
                <c:pt idx="0">
                  <c:v>сельское хозяйств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5502991279985092E-3"/>
                  <c:y val="-1.34532468814807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920131383511847E-2"/>
                      <c:h val="7.5572842790454592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2.7884609205816803E-3"/>
                  <c:y val="-1.345324688147976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:$C$3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4:$C$4</c:f>
              <c:numCache>
                <c:formatCode>0.0%</c:formatCode>
                <c:ptCount val="2"/>
                <c:pt idx="0">
                  <c:v>3.2000000000000035E-2</c:v>
                </c:pt>
                <c:pt idx="1">
                  <c:v>3.2000000000000035E-2</c:v>
                </c:pt>
              </c:numCache>
            </c:numRef>
          </c:val>
        </c:ser>
        <c:ser>
          <c:idx val="1"/>
          <c:order val="1"/>
          <c:tx>
            <c:strRef>
              <c:f>'[Рейтинг ИО.xls]структура'!$A$5</c:f>
              <c:strCache>
                <c:ptCount val="1"/>
                <c:pt idx="0">
                  <c:v>промышленность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508973839955353E-3"/>
                  <c:y val="2.057071388605477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819250862683861E-2"/>
                      <c:h val="6.3718609090609862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7.6508973839955353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:$C$3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5:$C$5</c:f>
              <c:numCache>
                <c:formatCode>0.0%</c:formatCode>
                <c:ptCount val="2"/>
                <c:pt idx="0">
                  <c:v>8.0000000000000057E-2</c:v>
                </c:pt>
                <c:pt idx="1">
                  <c:v>8.1000000000000016E-2</c:v>
                </c:pt>
              </c:numCache>
            </c:numRef>
          </c:val>
        </c:ser>
        <c:ser>
          <c:idx val="2"/>
          <c:order val="2"/>
          <c:tx>
            <c:strRef>
              <c:f>'[Рейтинг ИО.xls]структура'!$A$6</c:f>
              <c:strCache>
                <c:ptCount val="1"/>
                <c:pt idx="0">
                  <c:v>строительств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:$C$3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6:$C$6</c:f>
              <c:numCache>
                <c:formatCode>0.0%</c:formatCode>
                <c:ptCount val="2"/>
                <c:pt idx="0">
                  <c:v>0.11500000000000002</c:v>
                </c:pt>
                <c:pt idx="1">
                  <c:v>0.11799999999999998</c:v>
                </c:pt>
              </c:numCache>
            </c:numRef>
          </c:val>
        </c:ser>
        <c:ser>
          <c:idx val="3"/>
          <c:order val="3"/>
          <c:tx>
            <c:strRef>
              <c:f>'[Рейтинг ИО.xls]структура'!$A$7</c:f>
              <c:strCache>
                <c:ptCount val="1"/>
                <c:pt idx="0">
                  <c:v>торговля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:$C$3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7:$C$7</c:f>
              <c:numCache>
                <c:formatCode>0.0%</c:formatCode>
                <c:ptCount val="2"/>
                <c:pt idx="0">
                  <c:v>0.41200000000000025</c:v>
                </c:pt>
                <c:pt idx="1">
                  <c:v>0.3910000000000004</c:v>
                </c:pt>
              </c:numCache>
            </c:numRef>
          </c:val>
        </c:ser>
        <c:ser>
          <c:idx val="4"/>
          <c:order val="4"/>
          <c:tx>
            <c:strRef>
              <c:f>'[Рейтинг ИО.xls]структура'!$A$8</c:f>
              <c:strCache>
                <c:ptCount val="1"/>
                <c:pt idx="0">
                  <c:v>услу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:$C$3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8:$C$8</c:f>
              <c:numCache>
                <c:formatCode>0.0%</c:formatCode>
                <c:ptCount val="2"/>
                <c:pt idx="0">
                  <c:v>0.36100000000000032</c:v>
                </c:pt>
                <c:pt idx="1">
                  <c:v>0.378000000000000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2377336"/>
        <c:axId val="325923432"/>
      </c:barChart>
      <c:catAx>
        <c:axId val="3223773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923432"/>
        <c:crosses val="autoZero"/>
        <c:auto val="1"/>
        <c:lblAlgn val="ctr"/>
        <c:lblOffset val="100"/>
        <c:noMultiLvlLbl val="0"/>
      </c:catAx>
      <c:valAx>
        <c:axId val="3259234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one"/>
        <c:crossAx val="322377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[Рейтинг ИО.xls]структура'!$A$10</c:f>
          <c:strCache>
            <c:ptCount val="1"/>
            <c:pt idx="0">
              <c:v>Численность занятых у субъектов МСП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2297327453737213E-2"/>
          <c:y val="0.18744835633627163"/>
          <c:w val="0.8605372838743558"/>
          <c:h val="0.6984210377836389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[Рейтинг ИО.xls]структура'!$A$12</c:f>
              <c:strCache>
                <c:ptCount val="1"/>
                <c:pt idx="0">
                  <c:v>сельское хозяйств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192475244771961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4.759713989752239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Рейтинг ИО.xls]структура'!$B$11:$C$1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'[Рейтинг ИО.xls]структура'!$B$12:$C$12</c:f>
              <c:numCache>
                <c:formatCode>0.0%</c:formatCode>
                <c:ptCount val="2"/>
                <c:pt idx="0">
                  <c:v>4.3000000000000003E-2</c:v>
                </c:pt>
                <c:pt idx="1">
                  <c:v>4.3999999999999997E-2</c:v>
                </c:pt>
              </c:numCache>
            </c:numRef>
          </c:val>
        </c:ser>
        <c:ser>
          <c:idx val="1"/>
          <c:order val="1"/>
          <c:tx>
            <c:strRef>
              <c:f>'[Рейтинг ИО.xls]структура'!$A$13</c:f>
              <c:strCache>
                <c:ptCount val="1"/>
                <c:pt idx="0">
                  <c:v>промышленность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Рейтинг ИО.xls]структура'!$B$11:$C$1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'[Рейтинг ИО.xls]структура'!$B$13:$C$13</c:f>
              <c:numCache>
                <c:formatCode>0.0%</c:formatCode>
                <c:ptCount val="2"/>
                <c:pt idx="0">
                  <c:v>0.11899999999999998</c:v>
                </c:pt>
                <c:pt idx="1">
                  <c:v>0.113</c:v>
                </c:pt>
              </c:numCache>
            </c:numRef>
          </c:val>
        </c:ser>
        <c:ser>
          <c:idx val="2"/>
          <c:order val="2"/>
          <c:tx>
            <c:strRef>
              <c:f>'[Рейтинг ИО.xls]структура'!$A$14</c:f>
              <c:strCache>
                <c:ptCount val="1"/>
                <c:pt idx="0">
                  <c:v>строительств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Рейтинг ИО.xls]структура'!$B$11:$C$1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'[Рейтинг ИО.xls]структура'!$B$14:$C$14</c:f>
              <c:numCache>
                <c:formatCode>0.0%</c:formatCode>
                <c:ptCount val="2"/>
                <c:pt idx="0">
                  <c:v>0.11700000000000002</c:v>
                </c:pt>
                <c:pt idx="1">
                  <c:v>0.10800000000000007</c:v>
                </c:pt>
              </c:numCache>
            </c:numRef>
          </c:val>
        </c:ser>
        <c:ser>
          <c:idx val="3"/>
          <c:order val="3"/>
          <c:tx>
            <c:strRef>
              <c:f>'[Рейтинг ИО.xls]структура'!$A$15</c:f>
              <c:strCache>
                <c:ptCount val="1"/>
                <c:pt idx="0">
                  <c:v>торговля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Рейтинг ИО.xls]структура'!$B$11:$C$1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'[Рейтинг ИО.xls]структура'!$B$15:$C$15</c:f>
              <c:numCache>
                <c:formatCode>0.0%</c:formatCode>
                <c:ptCount val="2"/>
                <c:pt idx="0">
                  <c:v>0.34600000000000025</c:v>
                </c:pt>
                <c:pt idx="1">
                  <c:v>0.33900000000000041</c:v>
                </c:pt>
              </c:numCache>
            </c:numRef>
          </c:val>
        </c:ser>
        <c:ser>
          <c:idx val="4"/>
          <c:order val="4"/>
          <c:tx>
            <c:strRef>
              <c:f>'[Рейтинг ИО.xls]структура'!$A$16</c:f>
              <c:strCache>
                <c:ptCount val="1"/>
                <c:pt idx="0">
                  <c:v>услу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Рейтинг ИО.xls]структура'!$B$11:$C$1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'[Рейтинг ИО.xls]структура'!$B$16:$C$16</c:f>
              <c:numCache>
                <c:formatCode>0.0%</c:formatCode>
                <c:ptCount val="2"/>
                <c:pt idx="0">
                  <c:v>0.37500000000000028</c:v>
                </c:pt>
                <c:pt idx="1">
                  <c:v>0.3960000000000004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5921864"/>
        <c:axId val="325923824"/>
      </c:barChart>
      <c:catAx>
        <c:axId val="325921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923824"/>
        <c:crosses val="autoZero"/>
        <c:auto val="1"/>
        <c:lblAlgn val="ctr"/>
        <c:lblOffset val="100"/>
        <c:noMultiLvlLbl val="0"/>
      </c:catAx>
      <c:valAx>
        <c:axId val="32592382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one"/>
        <c:crossAx val="325921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структура!$A$19</c:f>
          <c:strCache>
            <c:ptCount val="1"/>
            <c:pt idx="0">
              <c:v>Оборот субъектов, МСП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0794768211815341E-2"/>
          <c:y val="0.21011730557283345"/>
          <c:w val="0.90920523178818535"/>
          <c:h val="0.700493447256140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структура!$A$22</c:f>
              <c:strCache>
                <c:ptCount val="1"/>
                <c:pt idx="0">
                  <c:v>сельское хозяйств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9135611055551552E-3"/>
                  <c:y val="1.9597538518540945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7012777229639104E-3"/>
                  <c:y val="-9.234191733589835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342631558929401E-2"/>
                      <c:h val="5.7345000503335207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B$21:$C$2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структура!$B$22:$C$22</c:f>
              <c:numCache>
                <c:formatCode>0.0%</c:formatCode>
                <c:ptCount val="2"/>
                <c:pt idx="0">
                  <c:v>1.9000000000000017E-2</c:v>
                </c:pt>
                <c:pt idx="1">
                  <c:v>2.3E-2</c:v>
                </c:pt>
              </c:numCache>
            </c:numRef>
          </c:val>
        </c:ser>
        <c:ser>
          <c:idx val="1"/>
          <c:order val="1"/>
          <c:tx>
            <c:strRef>
              <c:f>структура!$A$23</c:f>
              <c:strCache>
                <c:ptCount val="1"/>
                <c:pt idx="0">
                  <c:v>промышленность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8566161368709142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9.8207701710886532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B$21:$C$2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структура!$B$23:$C$23</c:f>
              <c:numCache>
                <c:formatCode>0.0%</c:formatCode>
                <c:ptCount val="2"/>
                <c:pt idx="0">
                  <c:v>6.6000000000000003E-2</c:v>
                </c:pt>
                <c:pt idx="1">
                  <c:v>7.3999999999999996E-2</c:v>
                </c:pt>
              </c:numCache>
            </c:numRef>
          </c:val>
        </c:ser>
        <c:ser>
          <c:idx val="2"/>
          <c:order val="2"/>
          <c:tx>
            <c:strRef>
              <c:f>структура!$A$24</c:f>
              <c:strCache>
                <c:ptCount val="1"/>
                <c:pt idx="0">
                  <c:v>строительств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B$21:$C$2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структура!$B$24:$C$24</c:f>
              <c:numCache>
                <c:formatCode>0.0%</c:formatCode>
                <c:ptCount val="2"/>
                <c:pt idx="0">
                  <c:v>0.11600000000000002</c:v>
                </c:pt>
                <c:pt idx="1">
                  <c:v>0.10900000000000007</c:v>
                </c:pt>
              </c:numCache>
            </c:numRef>
          </c:val>
        </c:ser>
        <c:ser>
          <c:idx val="3"/>
          <c:order val="3"/>
          <c:tx>
            <c:strRef>
              <c:f>структура!$A$25</c:f>
              <c:strCache>
                <c:ptCount val="1"/>
                <c:pt idx="0">
                  <c:v>торговля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B$21:$C$2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структура!$B$25:$C$25</c:f>
              <c:numCache>
                <c:formatCode>0.0%</c:formatCode>
                <c:ptCount val="2"/>
                <c:pt idx="0">
                  <c:v>0.60200000000000053</c:v>
                </c:pt>
                <c:pt idx="1">
                  <c:v>0.60300000000000054</c:v>
                </c:pt>
              </c:numCache>
            </c:numRef>
          </c:val>
        </c:ser>
        <c:ser>
          <c:idx val="4"/>
          <c:order val="4"/>
          <c:tx>
            <c:strRef>
              <c:f>структура!$A$26</c:f>
              <c:strCache>
                <c:ptCount val="1"/>
                <c:pt idx="0">
                  <c:v>услу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B$21:$C$21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структура!$B$26:$C$26</c:f>
              <c:numCache>
                <c:formatCode>0.0%</c:formatCode>
                <c:ptCount val="2"/>
                <c:pt idx="0">
                  <c:v>0.19700000000000006</c:v>
                </c:pt>
                <c:pt idx="1">
                  <c:v>0.1910000000000000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5924608"/>
        <c:axId val="325923040"/>
      </c:barChart>
      <c:catAx>
        <c:axId val="325924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923040"/>
        <c:crosses val="autoZero"/>
        <c:auto val="1"/>
        <c:lblAlgn val="ctr"/>
        <c:lblOffset val="100"/>
        <c:noMultiLvlLbl val="0"/>
      </c:catAx>
      <c:valAx>
        <c:axId val="3259230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one"/>
        <c:crossAx val="325924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[Рейтинг ИО.xls]структура'!$A$28</c:f>
          <c:strCache>
            <c:ptCount val="1"/>
            <c:pt idx="0">
              <c:v>Инвестиции в основной капитал у субъектов МСП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[Рейтинг ИО.xls]структура'!$A$30</c:f>
              <c:strCache>
                <c:ptCount val="1"/>
                <c:pt idx="0">
                  <c:v>сельское хозяйств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8:$C$29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30:$C$30</c:f>
              <c:numCache>
                <c:formatCode>0.0%</c:formatCode>
                <c:ptCount val="2"/>
                <c:pt idx="0">
                  <c:v>0.17900000000000013</c:v>
                </c:pt>
                <c:pt idx="1">
                  <c:v>0.222</c:v>
                </c:pt>
              </c:numCache>
            </c:numRef>
          </c:val>
        </c:ser>
        <c:ser>
          <c:idx val="1"/>
          <c:order val="1"/>
          <c:tx>
            <c:strRef>
              <c:f>'[Рейтинг ИО.xls]структура'!$A$31</c:f>
              <c:strCache>
                <c:ptCount val="1"/>
                <c:pt idx="0">
                  <c:v>промышленность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8:$C$29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31:$C$31</c:f>
              <c:numCache>
                <c:formatCode>0.0%</c:formatCode>
                <c:ptCount val="2"/>
                <c:pt idx="0">
                  <c:v>0.14300000000000004</c:v>
                </c:pt>
                <c:pt idx="1">
                  <c:v>0.224</c:v>
                </c:pt>
              </c:numCache>
            </c:numRef>
          </c:val>
        </c:ser>
        <c:ser>
          <c:idx val="2"/>
          <c:order val="2"/>
          <c:tx>
            <c:strRef>
              <c:f>'[Рейтинг ИО.xls]структура'!$A$32</c:f>
              <c:strCache>
                <c:ptCount val="1"/>
                <c:pt idx="0">
                  <c:v>строительств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8:$C$29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32:$C$32</c:f>
              <c:numCache>
                <c:formatCode>0.0%</c:formatCode>
                <c:ptCount val="2"/>
                <c:pt idx="0">
                  <c:v>0.2</c:v>
                </c:pt>
                <c:pt idx="1">
                  <c:v>0.18900000000000014</c:v>
                </c:pt>
              </c:numCache>
            </c:numRef>
          </c:val>
        </c:ser>
        <c:ser>
          <c:idx val="3"/>
          <c:order val="3"/>
          <c:tx>
            <c:strRef>
              <c:f>'[Рейтинг ИО.xls]структура'!$A$33</c:f>
              <c:strCache>
                <c:ptCount val="1"/>
                <c:pt idx="0">
                  <c:v>торговля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8:$C$29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33:$C$33</c:f>
              <c:numCache>
                <c:formatCode>0.0%</c:formatCode>
                <c:ptCount val="2"/>
                <c:pt idx="0">
                  <c:v>0.28800000000000026</c:v>
                </c:pt>
                <c:pt idx="1">
                  <c:v>0.19600000000000001</c:v>
                </c:pt>
              </c:numCache>
            </c:numRef>
          </c:val>
        </c:ser>
        <c:ser>
          <c:idx val="4"/>
          <c:order val="4"/>
          <c:tx>
            <c:strRef>
              <c:f>'[Рейтинг ИО.xls]структура'!$A$34</c:f>
              <c:strCache>
                <c:ptCount val="1"/>
                <c:pt idx="0">
                  <c:v>услу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Рейтинг ИО.xls]структура'!$B$28:$C$29</c:f>
              <c:strCache>
                <c:ptCount val="2"/>
                <c:pt idx="0">
                  <c:v>2013</c:v>
                </c:pt>
                <c:pt idx="1">
                  <c:v>2014</c:v>
                </c:pt>
              </c:strCache>
            </c:strRef>
          </c:cat>
          <c:val>
            <c:numRef>
              <c:f>'[Рейтинг ИО.xls]структура'!$B$34:$C$34</c:f>
              <c:numCache>
                <c:formatCode>0.0%</c:formatCode>
                <c:ptCount val="2"/>
                <c:pt idx="0">
                  <c:v>0.19</c:v>
                </c:pt>
                <c:pt idx="1">
                  <c:v>0.169000000000000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5925392"/>
        <c:axId val="325922256"/>
      </c:barChart>
      <c:catAx>
        <c:axId val="3259253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922256"/>
        <c:crosses val="autoZero"/>
        <c:auto val="1"/>
        <c:lblAlgn val="ctr"/>
        <c:lblOffset val="100"/>
        <c:noMultiLvlLbl val="0"/>
      </c:catAx>
      <c:valAx>
        <c:axId val="32592225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one"/>
        <c:crossAx val="32592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96286499343859"/>
          <c:y val="6.4116686389186876E-3"/>
          <c:w val="0.81846790337648467"/>
          <c:h val="0.6783216783216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соотн врп-оквэд-занятость'!$A$40</c:f>
              <c:strCache>
                <c:ptCount val="1"/>
                <c:pt idx="0">
                  <c:v>Валовой региональный продукт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7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6594488188976536E-5"/>
                  <c:y val="4.3787721568327425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5485008060150739E-17"/>
                  <c:y val="6.1420635867059084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1.0946907498631643E-2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8297244094488241E-5"/>
                  <c:y val="8.4734812146366884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6.781205559520671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0"/>
                  <c:y val="4.52080370634701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0,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2.6749097769028954E-3"/>
                  <c:y val="1.6920976707181889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соотн врп-оквэд-занятость'!$A$42:$A$56</c:f>
              <c:strCache>
                <c:ptCount val="15"/>
                <c:pt idx="0">
                  <c:v>Транспорт и связь</c:v>
                </c:pt>
                <c:pt idx="1">
                  <c:v>Обрабатывающие производства</c:v>
                </c:pt>
                <c:pt idx="2">
                  <c:v>Добыча полезных ископаемых</c:v>
                </c:pt>
                <c:pt idx="3">
                  <c:v>Оптовая и розничная торговаля</c:v>
                </c:pt>
                <c:pt idx="4">
                  <c:v>Производство и распределение электроэнергии, газа и воды</c:v>
                </c:pt>
                <c:pt idx="5">
                  <c:v>Государственнное управление и обеспечение военной безопасности; социальное страхование</c:v>
                </c:pt>
                <c:pt idx="6">
                  <c:v>Сельское хозяйство, охота и лесное хозяйство</c:v>
                </c:pt>
                <c:pt idx="7">
                  <c:v>Операции с недвижимым имуществом, аренда</c:v>
                </c:pt>
                <c:pt idx="8">
                  <c:v>Строительство</c:v>
                </c:pt>
                <c:pt idx="9">
                  <c:v>Здравоохранение и предоставление социяльных услуг</c:v>
                </c:pt>
                <c:pt idx="10">
                  <c:v>Образование</c:v>
                </c:pt>
                <c:pt idx="11">
                  <c:v>Предоставление прочих коммунальных, социальных и персональных услуг</c:v>
                </c:pt>
                <c:pt idx="12">
                  <c:v>Гостиницы и рестораны</c:v>
                </c:pt>
                <c:pt idx="13">
                  <c:v>Финансовая деятельность</c:v>
                </c:pt>
                <c:pt idx="14">
                  <c:v>Рыболовство и рыбоводство</c:v>
                </c:pt>
              </c:strCache>
            </c:strRef>
          </c:cat>
          <c:val>
            <c:numRef>
              <c:f>'соотн врп-оквэд-занятость'!$B$42:$B$56</c:f>
              <c:numCache>
                <c:formatCode>0.0%</c:formatCode>
                <c:ptCount val="15"/>
                <c:pt idx="0">
                  <c:v>0.17200000000000001</c:v>
                </c:pt>
                <c:pt idx="1">
                  <c:v>0.13600000000000001</c:v>
                </c:pt>
                <c:pt idx="2">
                  <c:v>0.15700000000000028</c:v>
                </c:pt>
                <c:pt idx="3">
                  <c:v>0.10900000000000012</c:v>
                </c:pt>
                <c:pt idx="4">
                  <c:v>6.5000000000000099E-2</c:v>
                </c:pt>
                <c:pt idx="5">
                  <c:v>6.9000000000000131E-2</c:v>
                </c:pt>
                <c:pt idx="6">
                  <c:v>5.5000000000000077E-2</c:v>
                </c:pt>
                <c:pt idx="7">
                  <c:v>6.8000000000000033E-2</c:v>
                </c:pt>
                <c:pt idx="8">
                  <c:v>6.6000000000000003E-2</c:v>
                </c:pt>
                <c:pt idx="9">
                  <c:v>4.5000000000000033E-2</c:v>
                </c:pt>
                <c:pt idx="10">
                  <c:v>3.8000000000000041E-2</c:v>
                </c:pt>
                <c:pt idx="11">
                  <c:v>1.0000000000000016E-2</c:v>
                </c:pt>
                <c:pt idx="12">
                  <c:v>6.0000000000000123E-3</c:v>
                </c:pt>
                <c:pt idx="13">
                  <c:v>4.0000000000000079E-3</c:v>
                </c:pt>
                <c:pt idx="14" formatCode="0%">
                  <c:v>0</c:v>
                </c:pt>
              </c:numCache>
            </c:numRef>
          </c:val>
        </c:ser>
        <c:ser>
          <c:idx val="1"/>
          <c:order val="1"/>
          <c:tx>
            <c:strRef>
              <c:f>'форум показатели 2'!$F$58</c:f>
              <c:strCache>
                <c:ptCount val="1"/>
                <c:pt idx="0">
                  <c:v>Структура предприятий по видам деятельности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1.953073736876645E-3"/>
                  <c:y val="9.4616505917090865E-3"/>
                </c:manualLayout>
              </c:layout>
              <c:tx>
                <c:rich>
                  <a:bodyPr/>
                  <a:lstStyle/>
                  <a:p>
                    <a:pPr>
                      <a:defRPr sz="600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 sz="600" b="1" dirty="0" smtClean="0"/>
                      <a:t>8,1%</a:t>
                    </a:r>
                    <a:endParaRPr lang="en-US" sz="600" b="1" dirty="0"/>
                  </a:p>
                </c:rich>
              </c:tx>
              <c:numFmt formatCode="0%" sourceLinked="0"/>
              <c:spPr>
                <a:noFill/>
                <a:ln w="25400">
                  <a:noFill/>
                </a:ln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9654999179790021E-2"/>
                      <c:h val="2.6593716794785768E-2"/>
                    </c:manualLayout>
                  </c15:layout>
                </c:ext>
              </c:extLst>
            </c:dLbl>
            <c:dLbl>
              <c:idx val="1"/>
              <c:layout/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2596374671916036E-3"/>
                  <c:y val="1.0946930392081763E-2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4.520803706347109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6697014435791263E-5"/>
                  <c:y val="6.5681582352490183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1.2723507217857392E-4"/>
                  <c:y val="5.5029216138912434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8.478920603674549E-5"/>
                  <c:y val="6.5681582352491077E-3"/>
                </c:manualLayout>
              </c:layout>
              <c:numFmt formatCode="0%" sourceLinked="0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,6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1.1606996391076135E-3"/>
                  <c:y val="-9.1126231874514661E-3"/>
                </c:manualLayout>
              </c:layout>
              <c:tx>
                <c:rich>
                  <a:bodyPr/>
                  <a:lstStyle/>
                  <a:p>
                    <a:pPr>
                      <a:defRPr sz="600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 sz="600" b="1" dirty="0" smtClean="0"/>
                      <a:t>0,1%</a:t>
                    </a:r>
                    <a:endParaRPr lang="en-US" sz="600" b="1" dirty="0"/>
                  </a:p>
                </c:rich>
              </c:tx>
              <c:numFmt formatCode="0%" sourceLinked="0"/>
              <c:spPr>
                <a:noFill/>
                <a:ln w="25400">
                  <a:noFill/>
                </a:ln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соотн врп-оквэд-занятость'!$A$42:$A$56</c:f>
              <c:strCache>
                <c:ptCount val="15"/>
                <c:pt idx="0">
                  <c:v>Транспорт и связь</c:v>
                </c:pt>
                <c:pt idx="1">
                  <c:v>Обрабатывающие производства</c:v>
                </c:pt>
                <c:pt idx="2">
                  <c:v>Добыча полезных ископаемых</c:v>
                </c:pt>
                <c:pt idx="3">
                  <c:v>Оптовая и розничная торговаля</c:v>
                </c:pt>
                <c:pt idx="4">
                  <c:v>Производство и распределение электроэнергии, газа и воды</c:v>
                </c:pt>
                <c:pt idx="5">
                  <c:v>Государственнное управление и обеспечение военной безопасности; социальное страхование</c:v>
                </c:pt>
                <c:pt idx="6">
                  <c:v>Сельское хозяйство, охота и лесное хозяйство</c:v>
                </c:pt>
                <c:pt idx="7">
                  <c:v>Операции с недвижимым имуществом, аренда</c:v>
                </c:pt>
                <c:pt idx="8">
                  <c:v>Строительство</c:v>
                </c:pt>
                <c:pt idx="9">
                  <c:v>Здравоохранение и предоставление социяльных услуг</c:v>
                </c:pt>
                <c:pt idx="10">
                  <c:v>Образование</c:v>
                </c:pt>
                <c:pt idx="11">
                  <c:v>Предоставление прочих коммунальных, социальных и персональных услуг</c:v>
                </c:pt>
                <c:pt idx="12">
                  <c:v>Гостиницы и рестораны</c:v>
                </c:pt>
                <c:pt idx="13">
                  <c:v>Финансовая деятельность</c:v>
                </c:pt>
                <c:pt idx="14">
                  <c:v>Рыболовство и рыбоводство</c:v>
                </c:pt>
              </c:strCache>
            </c:strRef>
          </c:cat>
          <c:val>
            <c:numRef>
              <c:f>'форум показатели 2'!$F$59:$F$73</c:f>
              <c:numCache>
                <c:formatCode>0.0%</c:formatCode>
                <c:ptCount val="15"/>
                <c:pt idx="0">
                  <c:v>8.0726405090138148E-2</c:v>
                </c:pt>
                <c:pt idx="1">
                  <c:v>5.1365323435843165E-3</c:v>
                </c:pt>
                <c:pt idx="2">
                  <c:v>8.056071049840953E-2</c:v>
                </c:pt>
                <c:pt idx="3">
                  <c:v>0.39127120890774197</c:v>
                </c:pt>
                <c:pt idx="4">
                  <c:v>0</c:v>
                </c:pt>
                <c:pt idx="5">
                  <c:v>0.19498939554613018</c:v>
                </c:pt>
                <c:pt idx="6">
                  <c:v>0.11780885471898209</c:v>
                </c:pt>
                <c:pt idx="7">
                  <c:v>8.2515906680806148E-3</c:v>
                </c:pt>
                <c:pt idx="8">
                  <c:v>3.2045334040297004E-2</c:v>
                </c:pt>
                <c:pt idx="9">
                  <c:v>1.4415429480381761E-2</c:v>
                </c:pt>
                <c:pt idx="10">
                  <c:v>3.0819194061505882E-3</c:v>
                </c:pt>
                <c:pt idx="11">
                  <c:v>2.5086161187698838E-2</c:v>
                </c:pt>
                <c:pt idx="12">
                  <c:v>3.0090137857900399E-2</c:v>
                </c:pt>
                <c:pt idx="13">
                  <c:v>1.5774125132555713E-2</c:v>
                </c:pt>
                <c:pt idx="14">
                  <c:v>7.6219512195122062E-4</c:v>
                </c:pt>
              </c:numCache>
            </c:numRef>
          </c:val>
        </c:ser>
        <c:ser>
          <c:idx val="2"/>
          <c:order val="2"/>
          <c:tx>
            <c:strRef>
              <c:f>'форум показатели 2'!$H$58</c:f>
              <c:strCache>
                <c:ptCount val="1"/>
                <c:pt idx="0">
                  <c:v>Оборот предприятий 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2.604166666666675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302083333333336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302083333333336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3020833333333369E-3"/>
                  <c:y val="-8.288044384107115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4.52080370634710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302083333333336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1.3020833333333369E-3"/>
                  <c:y val="-8.288044384107115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604166666666675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0"/>
                  <c:y val="-1.1301119343879191E-3"/>
                </c:manualLayout>
              </c:layout>
              <c:spPr>
                <a:noFill/>
                <a:ln w="25400">
                  <a:noFill/>
                </a:ln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600" b="1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34375E-2"/>
                      <c:h val="2.1078336273042304E-2"/>
                    </c:manualLayout>
                  </c15:layout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соотн врп-оквэд-занятость'!$A$42:$A$56</c:f>
              <c:strCache>
                <c:ptCount val="15"/>
                <c:pt idx="0">
                  <c:v>Транспорт и связь</c:v>
                </c:pt>
                <c:pt idx="1">
                  <c:v>Обрабатывающие производства</c:v>
                </c:pt>
                <c:pt idx="2">
                  <c:v>Добыча полезных ископаемых</c:v>
                </c:pt>
                <c:pt idx="3">
                  <c:v>Оптовая и розничная торговаля</c:v>
                </c:pt>
                <c:pt idx="4">
                  <c:v>Производство и распределение электроэнергии, газа и воды</c:v>
                </c:pt>
                <c:pt idx="5">
                  <c:v>Государственнное управление и обеспечение военной безопасности; социальное страхование</c:v>
                </c:pt>
                <c:pt idx="6">
                  <c:v>Сельское хозяйство, охота и лесное хозяйство</c:v>
                </c:pt>
                <c:pt idx="7">
                  <c:v>Операции с недвижимым имуществом, аренда</c:v>
                </c:pt>
                <c:pt idx="8">
                  <c:v>Строительство</c:v>
                </c:pt>
                <c:pt idx="9">
                  <c:v>Здравоохранение и предоставление социяльных услуг</c:v>
                </c:pt>
                <c:pt idx="10">
                  <c:v>Образование</c:v>
                </c:pt>
                <c:pt idx="11">
                  <c:v>Предоставление прочих коммунальных, социальных и персональных услуг</c:v>
                </c:pt>
                <c:pt idx="12">
                  <c:v>Гостиницы и рестораны</c:v>
                </c:pt>
                <c:pt idx="13">
                  <c:v>Финансовая деятельность</c:v>
                </c:pt>
                <c:pt idx="14">
                  <c:v>Рыболовство и рыбоводство</c:v>
                </c:pt>
              </c:strCache>
            </c:strRef>
          </c:cat>
          <c:val>
            <c:numRef>
              <c:f>'форум показатели 2'!$H$59:$H$73</c:f>
              <c:numCache>
                <c:formatCode>0.0%</c:formatCode>
                <c:ptCount val="15"/>
                <c:pt idx="0">
                  <c:v>4.4852589896781467E-2</c:v>
                </c:pt>
                <c:pt idx="1">
                  <c:v>5.009797794656364E-3</c:v>
                </c:pt>
                <c:pt idx="2">
                  <c:v>7.366395043176012E-2</c:v>
                </c:pt>
                <c:pt idx="3">
                  <c:v>0.60278888203572945</c:v>
                </c:pt>
                <c:pt idx="4">
                  <c:v>0</c:v>
                </c:pt>
                <c:pt idx="5">
                  <c:v>0.10280086660972428</c:v>
                </c:pt>
                <c:pt idx="6">
                  <c:v>0.10892767273498349</c:v>
                </c:pt>
                <c:pt idx="7">
                  <c:v>7.6542089557085921E-3</c:v>
                </c:pt>
                <c:pt idx="8">
                  <c:v>2.2734035896158401E-2</c:v>
                </c:pt>
                <c:pt idx="9">
                  <c:v>4.9224846019148803E-3</c:v>
                </c:pt>
                <c:pt idx="10">
                  <c:v>2.0539603377873461E-4</c:v>
                </c:pt>
                <c:pt idx="11">
                  <c:v>1.2235073040459642E-2</c:v>
                </c:pt>
                <c:pt idx="12">
                  <c:v>1.3765970281834629E-2</c:v>
                </c:pt>
                <c:pt idx="13">
                  <c:v>3.8252291091167822E-4</c:v>
                </c:pt>
                <c:pt idx="14">
                  <c:v>5.6548775599737966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-67"/>
        <c:axId val="326453216"/>
        <c:axId val="326454000"/>
      </c:barChart>
      <c:catAx>
        <c:axId val="326453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326454000"/>
        <c:crosses val="autoZero"/>
        <c:auto val="1"/>
        <c:lblAlgn val="ctr"/>
        <c:lblOffset val="100"/>
        <c:noMultiLvlLbl val="0"/>
      </c:catAx>
      <c:valAx>
        <c:axId val="326454000"/>
        <c:scaling>
          <c:orientation val="minMax"/>
        </c:scaling>
        <c:delete val="1"/>
        <c:axPos val="l"/>
        <c:majorGridlines/>
        <c:numFmt formatCode="0.0%" sourceLinked="1"/>
        <c:majorTickMark val="out"/>
        <c:minorTickMark val="none"/>
        <c:tickLblPos val="none"/>
        <c:crossAx val="3264532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 rtl="0">
              <a:defRPr sz="6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</c:dTable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16FFFD-D803-4434-B788-59BFBD4F82F7}" type="datetimeFigureOut">
              <a:rPr lang="ru-RU" smtClean="0"/>
              <a:pPr/>
              <a:t>20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5E90E5-82C3-43EA-B0DD-D615B908A4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1238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475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475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D2B4FA1-9BC6-45C7-8FAB-CB484C220501}" type="datetimeFigureOut">
              <a:rPr lang="ru-RU"/>
              <a:pPr>
                <a:defRPr/>
              </a:pPr>
              <a:t>20.11.20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746125"/>
            <a:ext cx="538797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24400"/>
            <a:ext cx="5486400" cy="4476750"/>
          </a:xfrm>
          <a:prstGeom prst="rect">
            <a:avLst/>
          </a:prstGeom>
        </p:spPr>
        <p:txBody>
          <a:bodyPr vert="horz" lIns="91879" tIns="45939" rIns="91879" bIns="45939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7213"/>
            <a:ext cx="2971800" cy="498475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47213"/>
            <a:ext cx="2971800" cy="498475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71D8F0E-C6F3-41C9-AF92-6007DBD4D7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6501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2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395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30822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8D068E-AB13-4A11-9459-8C3248B6D94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497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:\Marketing_and_Communications\Marketing1\Desk_pub\sasha\CROPPED images\42-19699070_CMYK_s.jpg"/>
          <p:cNvPicPr>
            <a:picLocks noChangeAspect="1" noChangeArrowheads="1"/>
          </p:cNvPicPr>
          <p:nvPr userDrawn="1"/>
        </p:nvPicPr>
        <p:blipFill>
          <a:blip r:embed="rId2" cstate="print"/>
          <a:srcRect r="-32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Freeform 8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Freeform 6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088C259-1F15-4A62-A8ED-64149F0CB7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9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9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6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4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7" y="1557344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6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9" y="548686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Freeform 7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1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1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30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981075" y="860425"/>
            <a:ext cx="1511300" cy="55562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7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72387"/>
            <a:ext cx="7344246" cy="57606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1800"/>
            </a:lvl1pPr>
          </a:lstStyle>
          <a:p>
            <a:pPr lvl="0"/>
            <a:r>
              <a:rPr lang="en-US" dirty="0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53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C:\Users\etkachenko\Documents\KPMG Projects\Strategy group\1. Support\Covers for presentation\Man making calculations on the paper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899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EA4AC46-8DFB-44C0-9285-DB57420303D5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7E5C0E2-1AF9-4354-844A-5CCA3D35B0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73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10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72387"/>
            <a:ext cx="7344246" cy="57606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1800"/>
            </a:lvl1pPr>
          </a:lstStyle>
          <a:p>
            <a:pPr lvl="0"/>
            <a:r>
              <a:rPr lang="en-US" dirty="0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0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2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2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40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6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C:\Users\etkachenko\Documents\KPMG Projects\Strategy group\1. Support\Covers for presentation\Man making calculations on the paper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899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334E86F-85B1-4F43-8387-98EC3543E26E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3B55977-7F1B-4192-9AFB-A97BA1D50E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07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1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0"/>
            <a:ext cx="4607941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4" y="1557340"/>
            <a:ext cx="4457577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5457057" y="548680"/>
            <a:ext cx="4175894" cy="503584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72387"/>
            <a:ext cx="7344246" cy="57606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1800"/>
            </a:lvl1pPr>
          </a:lstStyle>
          <a:p>
            <a:pPr lvl="0"/>
            <a:r>
              <a:rPr lang="en-US" dirty="0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29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C:\Users\etkachenko\Documents\KPMG Projects\Strategy group\1. Support\Covers for presentation\Man making calculations on the paper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899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EDB4F34-A280-421E-B774-FE2B6A55D069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9BADBCF-59F1-4179-9415-DF1E22A0A4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5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0" y="904877"/>
            <a:ext cx="9896475" cy="5476453"/>
            <a:chOff x="0" y="904875"/>
            <a:chExt cx="9896475" cy="5476453"/>
          </a:xfrm>
          <a:noFill/>
        </p:grpSpPr>
        <p:grpSp>
          <p:nvGrpSpPr>
            <p:cNvPr id="11" name="Group 53"/>
            <p:cNvGrpSpPr/>
            <p:nvPr/>
          </p:nvGrpSpPr>
          <p:grpSpPr bwMode="gray">
            <a:xfrm>
              <a:off x="269875" y="1193800"/>
              <a:ext cx="9356725" cy="4896000"/>
              <a:chOff x="269875" y="1193800"/>
              <a:chExt cx="9356725" cy="4896000"/>
            </a:xfrm>
            <a:grpFill/>
          </p:grpSpPr>
          <p:sp>
            <p:nvSpPr>
              <p:cNvPr id="17" name="Rectangle 18"/>
              <p:cNvSpPr>
                <a:spLocks noChangeArrowheads="1"/>
              </p:cNvSpPr>
              <p:nvPr/>
            </p:nvSpPr>
            <p:spPr bwMode="gray">
              <a:xfrm>
                <a:off x="269875" y="1193800"/>
                <a:ext cx="9356725" cy="48942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/>
            </p:nvSpPr>
            <p:spPr bwMode="gray">
              <a:xfrm>
                <a:off x="269875" y="3568700"/>
                <a:ext cx="9356725" cy="1444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/>
            </p:nvSpPr>
            <p:spPr bwMode="gray">
              <a:xfrm>
                <a:off x="4013200" y="1193800"/>
                <a:ext cx="1444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0" name="Rectangle 21"/>
              <p:cNvSpPr>
                <a:spLocks noChangeArrowheads="1"/>
              </p:cNvSpPr>
              <p:nvPr/>
            </p:nvSpPr>
            <p:spPr bwMode="gray">
              <a:xfrm>
                <a:off x="2000250" y="1193800"/>
                <a:ext cx="2841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1" name="Rectangle 22"/>
              <p:cNvSpPr>
                <a:spLocks noChangeArrowheads="1"/>
              </p:cNvSpPr>
              <p:nvPr/>
            </p:nvSpPr>
            <p:spPr bwMode="gray">
              <a:xfrm>
                <a:off x="5884863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2" name="Rectangle 23"/>
              <p:cNvSpPr>
                <a:spLocks noChangeArrowheads="1"/>
              </p:cNvSpPr>
              <p:nvPr/>
            </p:nvSpPr>
            <p:spPr bwMode="gray">
              <a:xfrm>
                <a:off x="7756525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grpSp>
          <p:nvGrpSpPr>
            <p:cNvPr id="12" name="Group 42"/>
            <p:cNvGrpSpPr/>
            <p:nvPr/>
          </p:nvGrpSpPr>
          <p:grpSpPr bwMode="gray">
            <a:xfrm>
              <a:off x="0" y="904875"/>
              <a:ext cx="9896475" cy="5476453"/>
              <a:chOff x="0" y="904875"/>
              <a:chExt cx="9896475" cy="5476453"/>
            </a:xfrm>
            <a:grpFill/>
          </p:grpSpPr>
          <p:sp>
            <p:nvSpPr>
              <p:cNvPr id="13" name="Rectangle 25"/>
              <p:cNvSpPr>
                <a:spLocks noChangeArrowheads="1"/>
              </p:cNvSpPr>
              <p:nvPr/>
            </p:nvSpPr>
            <p:spPr bwMode="gray">
              <a:xfrm>
                <a:off x="4913313" y="904875"/>
                <a:ext cx="71437" cy="287338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gray">
              <a:xfrm>
                <a:off x="4913313" y="6088063"/>
                <a:ext cx="71437" cy="293265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5" name="Rectangle 27"/>
              <p:cNvSpPr>
                <a:spLocks noChangeArrowheads="1"/>
              </p:cNvSpPr>
              <p:nvPr/>
            </p:nvSpPr>
            <p:spPr bwMode="gray">
              <a:xfrm>
                <a:off x="0" y="3605213"/>
                <a:ext cx="269875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6" name="Rectangle 28"/>
              <p:cNvSpPr>
                <a:spLocks noChangeArrowheads="1"/>
              </p:cNvSpPr>
              <p:nvPr/>
            </p:nvSpPr>
            <p:spPr bwMode="gray">
              <a:xfrm>
                <a:off x="9626600" y="3605213"/>
                <a:ext cx="269875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2"/>
          </p:nvPr>
        </p:nvSpPr>
        <p:spPr bwMode="gray">
          <a:xfrm>
            <a:off x="2289176" y="1196975"/>
            <a:ext cx="7343775" cy="489585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73050" y="1195200"/>
            <a:ext cx="1727200" cy="4895850"/>
          </a:xfrm>
        </p:spPr>
        <p:txBody>
          <a:bodyPr rIns="144000">
            <a:normAutofit/>
          </a:bodyPr>
          <a:lstStyle>
            <a:lvl1pPr>
              <a:lnSpc>
                <a:spcPct val="135000"/>
              </a:lnSpc>
              <a:defRPr sz="900">
                <a:solidFill>
                  <a:srgbClr val="00338D"/>
                </a:solidFill>
              </a:defRPr>
            </a:lvl1pPr>
            <a:lvl2pPr marL="180975" indent="-18097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b="1">
                <a:solidFill>
                  <a:srgbClr val="00338D"/>
                </a:solidFill>
              </a:defRPr>
            </a:lvl2pPr>
            <a:lvl3pPr marL="3619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89805FF-7DC0-48B3-82F8-A0A50F429CC2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423AC9-007F-47E3-88C7-FF98BE41D2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63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72387"/>
            <a:ext cx="7344246" cy="57606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1800"/>
            </a:lvl1pPr>
          </a:lstStyle>
          <a:p>
            <a:pPr lvl="0"/>
            <a:r>
              <a:rPr lang="en-US" dirty="0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85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C:\Users\etkachenko\Documents\KPMG Projects\Strategy group\1. Support\Covers for presentation\Man making calculations on the paper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899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3716339"/>
            <a:ext cx="3600450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 bwMode="gray">
          <a:xfrm>
            <a:off x="6032500" y="3716339"/>
            <a:ext cx="3600450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5217B8-9623-4EAA-8065-CA40663E5E9B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AFB6D53-C988-4D23-B137-166327255D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5"/>
          </p:nvPr>
        </p:nvSpPr>
        <p:spPr bwMode="gray">
          <a:xfrm>
            <a:off x="2289175" y="1196975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6"/>
          </p:nvPr>
        </p:nvSpPr>
        <p:spPr bwMode="gray">
          <a:xfrm>
            <a:off x="2289175" y="3716339"/>
            <a:ext cx="3600450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72387"/>
            <a:ext cx="7344246" cy="57606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1800"/>
            </a:lvl1pPr>
          </a:lstStyle>
          <a:p>
            <a:pPr lvl="0"/>
            <a:r>
              <a:rPr lang="en-US" dirty="0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0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0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38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9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C:\Users\etkachenko\Documents\KPMG Projects\Strategy group\1. Support\Covers for presentation\Man making calculations on the paper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899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7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0ABD149-EACC-4863-84CF-FE6163758A08}" type="datetimeFigureOut">
              <a:rPr lang="en-US"/>
              <a:pPr>
                <a:defRPr/>
              </a:pPr>
              <a:t>1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BCB9BE4-32C2-48E5-9921-16E9ECD411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8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6" y="1557342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4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8" y="548684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1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4" y="1557342"/>
            <a:ext cx="4457577" cy="45354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5457058" y="548680"/>
            <a:ext cx="4175894" cy="503584"/>
          </a:xfrm>
          <a:prstGeom prst="rect">
            <a:avLst/>
          </a:prstGeo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9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9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289175" y="1196975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5" name="Table Placeholder 12"/>
          <p:cNvSpPr>
            <a:spLocks noGrp="1"/>
          </p:cNvSpPr>
          <p:nvPr>
            <p:ph type="tbl" sz="quarter" idx="15"/>
          </p:nvPr>
        </p:nvSpPr>
        <p:spPr bwMode="gray">
          <a:xfrm>
            <a:off x="2289175" y="3716338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6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785562"/>
            <a:ext cx="4607940" cy="5672386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 rtlCol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1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1pPr>
            <a:lvl2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2pPr>
            <a:lvl3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GB" sz="700" b="0" kern="1200" noProof="0" dirty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4" y="785563"/>
            <a:ext cx="4457577" cy="5672385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 rtlCol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1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1pPr>
            <a:lvl2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2pPr>
            <a:lvl3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GB" sz="700" b="0" kern="1200" noProof="0" dirty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0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6" y="1196975"/>
            <a:ext cx="7343775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6" y="3716339"/>
            <a:ext cx="734377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6" y="3716339"/>
            <a:ext cx="734377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5"/>
          </p:nvPr>
        </p:nvSpPr>
        <p:spPr bwMode="gray">
          <a:xfrm>
            <a:off x="2289176" y="1196975"/>
            <a:ext cx="7343775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4160838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6034088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7905750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160838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6" y="1196977"/>
            <a:ext cx="1727200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6032500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7905750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6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/>
          </p:nvPr>
        </p:nvSpPr>
        <p:spPr bwMode="gray">
          <a:xfrm>
            <a:off x="2289175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8"/>
          </p:nvPr>
        </p:nvSpPr>
        <p:spPr bwMode="gray">
          <a:xfrm>
            <a:off x="3783013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5276851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6770689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8264526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3783014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6" y="1196977"/>
            <a:ext cx="136768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5276852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770690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8264526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20"/>
          <p:cNvSpPr>
            <a:spLocks noChangeArrowheads="1"/>
          </p:cNvSpPr>
          <p:nvPr userDrawn="1"/>
        </p:nvSpPr>
        <p:spPr bwMode="gray">
          <a:xfrm rot="19080000" flipH="1">
            <a:off x="6149975" y="242570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AutoShape 17"/>
          <p:cNvSpPr>
            <a:spLocks noChangeArrowheads="1"/>
          </p:cNvSpPr>
          <p:nvPr userDrawn="1"/>
        </p:nvSpPr>
        <p:spPr bwMode="gray">
          <a:xfrm rot="2520000" flipH="1">
            <a:off x="6149975" y="4433888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6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7" name="AutoShape 20"/>
          <p:cNvSpPr>
            <a:spLocks noChangeArrowheads="1"/>
          </p:cNvSpPr>
          <p:nvPr userDrawn="1"/>
        </p:nvSpPr>
        <p:spPr bwMode="gray">
          <a:xfrm rot="2520000">
            <a:off x="4151313" y="242570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AutoShape 17"/>
          <p:cNvSpPr>
            <a:spLocks noChangeArrowheads="1"/>
          </p:cNvSpPr>
          <p:nvPr userDrawn="1"/>
        </p:nvSpPr>
        <p:spPr bwMode="gray">
          <a:xfrm rot="19080000">
            <a:off x="4151313" y="4433888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5362925" y="3324225"/>
            <a:ext cx="1184400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289175" y="1628775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897117" y="1628775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6897117" y="4148137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7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897117" y="1196977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97117" y="3716339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289175" y="1628775"/>
            <a:ext cx="3600450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6032500" y="1628775"/>
            <a:ext cx="3600450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3600450" cy="1944688"/>
          </a:xfrm>
          <a:solidFill>
            <a:srgbClr val="BFDEE4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032500" y="4148137"/>
            <a:ext cx="3600450" cy="1944688"/>
          </a:xfrm>
          <a:solidFill>
            <a:srgbClr val="BFDEE4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7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032501" y="1196977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032501" y="3716339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4808190" y="1196975"/>
            <a:ext cx="23050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7329166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7327900" y="1196975"/>
            <a:ext cx="23050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289176" y="1196975"/>
            <a:ext cx="2303785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289176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4809171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5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8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7" name="TextBox 6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3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7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9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3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8" name="TextBox 7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1"/>
          </p:nvPr>
        </p:nvSpPr>
        <p:spPr bwMode="gray">
          <a:xfrm>
            <a:off x="5024439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0"/>
          </p:nvPr>
        </p:nvSpPr>
        <p:spPr bwMode="gray">
          <a:xfrm>
            <a:off x="272480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6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8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7" name="TextBox 6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3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no background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3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5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6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4" name="TextBox 3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72480" y="1196975"/>
            <a:ext cx="936047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7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7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09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rm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39" y="5013325"/>
            <a:ext cx="4537075" cy="1511300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rmAutofit/>
          </a:bodyPr>
          <a:lstStyle>
            <a:lvl1pPr algn="r"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Freeform 6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6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4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7" y="1557344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6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9" y="548686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80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9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9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6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4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7" y="1557344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6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9" y="548686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/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/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/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/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/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1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1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9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9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6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4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7" y="1557344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6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9" y="548686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1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1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19"/>
          <p:cNvGrpSpPr>
            <a:grpSpLocks/>
          </p:cNvGrpSpPr>
          <p:nvPr userDrawn="1"/>
        </p:nvGrpSpPr>
        <p:grpSpPr bwMode="gray">
          <a:xfrm>
            <a:off x="776539" y="548680"/>
            <a:ext cx="1930547" cy="1080120"/>
            <a:chOff x="68" y="0"/>
            <a:chExt cx="1723" cy="964"/>
          </a:xfrm>
          <a:solidFill>
            <a:schemeClr val="accent2"/>
          </a:solidFill>
        </p:grpSpPr>
        <p:sp>
          <p:nvSpPr>
            <p:cNvPr id="6" name="Freeform 8"/>
            <p:cNvSpPr>
              <a:spLocks noEditPoints="1"/>
            </p:cNvSpPr>
            <p:nvPr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9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8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6" y="6421438"/>
            <a:ext cx="2591818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73050" y="6421438"/>
            <a:ext cx="1727200" cy="1759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4"/>
            <a:ext cx="4607941" cy="4535487"/>
          </a:xfrm>
          <a:prstGeom prst="rect">
            <a:avLst/>
          </a:prstGeo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7" y="1557344"/>
            <a:ext cx="4455989" cy="4535487"/>
          </a:xfrm>
          <a:prstGeom prst="rect">
            <a:avLst/>
          </a:prstGeo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27226" y="548686"/>
            <a:ext cx="1345654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9" y="548686"/>
            <a:ext cx="1390650" cy="504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bgs_grid_report_apndx" hidden="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4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5" name="TextBox 4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1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1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8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2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11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41" y="5013325"/>
            <a:ext cx="453707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rtlCol="0"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:\Marketing_and_Communications\Marketing1\Desk_pub\sasha\CROPPED images\42-19699070_CMYK_s.jpg"/>
          <p:cNvPicPr>
            <a:picLocks noChangeAspect="1" noChangeArrowheads="1"/>
          </p:cNvPicPr>
          <p:nvPr userDrawn="1"/>
        </p:nvPicPr>
        <p:blipFill>
          <a:blip r:embed="rId2" cstate="print"/>
          <a:srcRect r="-32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Freeform 8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Freeform 7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/>
          </p:cNvSpPr>
          <p:nvPr userDrawn="1"/>
        </p:nvSpPr>
        <p:spPr bwMode="gray">
          <a:xfrm>
            <a:off x="0" y="547688"/>
            <a:ext cx="5062538" cy="5043487"/>
          </a:xfrm>
          <a:custGeom>
            <a:avLst/>
            <a:gdLst/>
            <a:ahLst/>
            <a:cxnLst>
              <a:cxn ang="0">
                <a:pos x="3189" y="0"/>
              </a:cxn>
              <a:cxn ang="0">
                <a:pos x="476" y="0"/>
              </a:cxn>
              <a:cxn ang="0">
                <a:pos x="0" y="1608"/>
              </a:cxn>
              <a:cxn ang="0">
                <a:pos x="0" y="3177"/>
              </a:cxn>
              <a:cxn ang="0">
                <a:pos x="2247" y="3177"/>
              </a:cxn>
              <a:cxn ang="0">
                <a:pos x="3189" y="0"/>
              </a:cxn>
            </a:cxnLst>
            <a:rect l="0" t="0" r="r" b="b"/>
            <a:pathLst>
              <a:path w="3189" h="3177">
                <a:moveTo>
                  <a:pt x="3189" y="0"/>
                </a:moveTo>
                <a:lnTo>
                  <a:pt x="476" y="0"/>
                </a:lnTo>
                <a:lnTo>
                  <a:pt x="0" y="1608"/>
                </a:lnTo>
                <a:lnTo>
                  <a:pt x="0" y="3177"/>
                </a:lnTo>
                <a:lnTo>
                  <a:pt x="2247" y="3177"/>
                </a:lnTo>
                <a:lnTo>
                  <a:pt x="31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981075" y="860425"/>
            <a:ext cx="1511300" cy="55562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7" y="1844824"/>
            <a:ext cx="3316689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10"/>
          <p:cNvSpPr>
            <a:spLocks noChangeAspect="1" noEditPoints="1"/>
          </p:cNvSpPr>
          <p:nvPr userDrawn="1"/>
        </p:nvSpPr>
        <p:spPr bwMode="auto">
          <a:xfrm>
            <a:off x="333375" y="401638"/>
            <a:ext cx="2087563" cy="765175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5025008" y="5013176"/>
            <a:ext cx="4536504" cy="151216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8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0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3103290" y="548682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76" y="548682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40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1"/>
          <p:cNvGrpSpPr>
            <a:grpSpLocks/>
          </p:cNvGrpSpPr>
          <p:nvPr userDrawn="1"/>
        </p:nvGrpSpPr>
        <p:grpSpPr bwMode="auto">
          <a:xfrm>
            <a:off x="176213" y="0"/>
            <a:ext cx="963612" cy="695325"/>
            <a:chOff x="175518" y="0"/>
            <a:chExt cx="963613" cy="695325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0"/>
            <a:ext cx="4607941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4" y="1557340"/>
            <a:ext cx="4457577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5457057" y="548680"/>
            <a:ext cx="4175894" cy="503584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0" y="904877"/>
            <a:ext cx="9896475" cy="5476453"/>
            <a:chOff x="0" y="904875"/>
            <a:chExt cx="9896475" cy="5476453"/>
          </a:xfrm>
          <a:noFill/>
        </p:grpSpPr>
        <p:grpSp>
          <p:nvGrpSpPr>
            <p:cNvPr id="11" name="Group 53"/>
            <p:cNvGrpSpPr/>
            <p:nvPr/>
          </p:nvGrpSpPr>
          <p:grpSpPr bwMode="gray">
            <a:xfrm>
              <a:off x="269875" y="1193800"/>
              <a:ext cx="9356725" cy="4896000"/>
              <a:chOff x="269875" y="1193800"/>
              <a:chExt cx="9356725" cy="4896000"/>
            </a:xfrm>
            <a:grpFill/>
          </p:grpSpPr>
          <p:sp>
            <p:nvSpPr>
              <p:cNvPr id="17" name="Rectangle 18"/>
              <p:cNvSpPr>
                <a:spLocks noChangeArrowheads="1"/>
              </p:cNvSpPr>
              <p:nvPr/>
            </p:nvSpPr>
            <p:spPr bwMode="gray">
              <a:xfrm>
                <a:off x="269875" y="1193800"/>
                <a:ext cx="9356725" cy="48942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/>
            </p:nvSpPr>
            <p:spPr bwMode="gray">
              <a:xfrm>
                <a:off x="269875" y="3568700"/>
                <a:ext cx="9356725" cy="1444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/>
            </p:nvSpPr>
            <p:spPr bwMode="gray">
              <a:xfrm>
                <a:off x="4013200" y="1193800"/>
                <a:ext cx="1444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0" name="Rectangle 21"/>
              <p:cNvSpPr>
                <a:spLocks noChangeArrowheads="1"/>
              </p:cNvSpPr>
              <p:nvPr/>
            </p:nvSpPr>
            <p:spPr bwMode="gray">
              <a:xfrm>
                <a:off x="2000250" y="1193800"/>
                <a:ext cx="2841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1" name="Rectangle 22"/>
              <p:cNvSpPr>
                <a:spLocks noChangeArrowheads="1"/>
              </p:cNvSpPr>
              <p:nvPr/>
            </p:nvSpPr>
            <p:spPr bwMode="gray">
              <a:xfrm>
                <a:off x="5884863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2" name="Rectangle 23"/>
              <p:cNvSpPr>
                <a:spLocks noChangeArrowheads="1"/>
              </p:cNvSpPr>
              <p:nvPr/>
            </p:nvSpPr>
            <p:spPr bwMode="gray">
              <a:xfrm>
                <a:off x="7756525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grpSp>
          <p:nvGrpSpPr>
            <p:cNvPr id="12" name="Group 42"/>
            <p:cNvGrpSpPr/>
            <p:nvPr/>
          </p:nvGrpSpPr>
          <p:grpSpPr bwMode="gray">
            <a:xfrm>
              <a:off x="0" y="904875"/>
              <a:ext cx="9896475" cy="5476453"/>
              <a:chOff x="0" y="904875"/>
              <a:chExt cx="9896475" cy="5476453"/>
            </a:xfrm>
            <a:grpFill/>
          </p:grpSpPr>
          <p:sp>
            <p:nvSpPr>
              <p:cNvPr id="13" name="Rectangle 25"/>
              <p:cNvSpPr>
                <a:spLocks noChangeArrowheads="1"/>
              </p:cNvSpPr>
              <p:nvPr/>
            </p:nvSpPr>
            <p:spPr bwMode="gray">
              <a:xfrm>
                <a:off x="4913313" y="904875"/>
                <a:ext cx="71437" cy="287338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gray">
              <a:xfrm>
                <a:off x="4913313" y="6088063"/>
                <a:ext cx="71437" cy="293265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5" name="Rectangle 27"/>
              <p:cNvSpPr>
                <a:spLocks noChangeArrowheads="1"/>
              </p:cNvSpPr>
              <p:nvPr/>
            </p:nvSpPr>
            <p:spPr bwMode="gray">
              <a:xfrm>
                <a:off x="0" y="3605213"/>
                <a:ext cx="269875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6" name="Rectangle 28"/>
              <p:cNvSpPr>
                <a:spLocks noChangeArrowheads="1"/>
              </p:cNvSpPr>
              <p:nvPr/>
            </p:nvSpPr>
            <p:spPr bwMode="gray">
              <a:xfrm>
                <a:off x="9626600" y="3605213"/>
                <a:ext cx="269875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2"/>
          </p:nvPr>
        </p:nvSpPr>
        <p:spPr bwMode="gray">
          <a:xfrm>
            <a:off x="2289176" y="1196975"/>
            <a:ext cx="7343775" cy="489585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73050" y="1195200"/>
            <a:ext cx="1727200" cy="4895850"/>
          </a:xfrm>
        </p:spPr>
        <p:txBody>
          <a:bodyPr rIns="144000">
            <a:normAutofit/>
          </a:bodyPr>
          <a:lstStyle>
            <a:lvl1pPr>
              <a:lnSpc>
                <a:spcPct val="135000"/>
              </a:lnSpc>
              <a:defRPr sz="900">
                <a:solidFill>
                  <a:srgbClr val="00338D"/>
                </a:solidFill>
              </a:defRPr>
            </a:lvl1pPr>
            <a:lvl2pPr marL="180975" indent="-18097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b="1">
                <a:solidFill>
                  <a:srgbClr val="00338D"/>
                </a:solidFill>
              </a:defRPr>
            </a:lvl2pPr>
            <a:lvl3pPr marL="3619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3716339"/>
            <a:ext cx="3600450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 bwMode="gray">
          <a:xfrm>
            <a:off x="6032500" y="3716339"/>
            <a:ext cx="3600450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91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5"/>
          </p:nvPr>
        </p:nvSpPr>
        <p:spPr bwMode="gray">
          <a:xfrm>
            <a:off x="2289175" y="1196975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6" name="Chart Placeholder 15"/>
          <p:cNvSpPr>
            <a:spLocks noGrp="1"/>
          </p:cNvSpPr>
          <p:nvPr>
            <p:ph type="chart" sz="quarter" idx="16"/>
          </p:nvPr>
        </p:nvSpPr>
        <p:spPr bwMode="gray">
          <a:xfrm>
            <a:off x="2289175" y="3716339"/>
            <a:ext cx="3600450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289175" y="1196975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5" name="Table Placeholder 12"/>
          <p:cNvSpPr>
            <a:spLocks noGrp="1"/>
          </p:cNvSpPr>
          <p:nvPr>
            <p:ph type="tbl" sz="quarter" idx="15"/>
          </p:nvPr>
        </p:nvSpPr>
        <p:spPr bwMode="gray">
          <a:xfrm>
            <a:off x="2289175" y="3716338"/>
            <a:ext cx="36004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6" y="1196975"/>
            <a:ext cx="7343775" cy="2376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6" y="3716339"/>
            <a:ext cx="734377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6" y="3716339"/>
            <a:ext cx="734377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5"/>
          </p:nvPr>
        </p:nvSpPr>
        <p:spPr bwMode="gray">
          <a:xfrm>
            <a:off x="2289176" y="1196975"/>
            <a:ext cx="7343775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4160838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6034088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7905750" y="1916113"/>
            <a:ext cx="1727200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160838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6" y="1196977"/>
            <a:ext cx="1727200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6032500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7905750" y="1196977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6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/>
          </p:nvPr>
        </p:nvSpPr>
        <p:spPr bwMode="gray">
          <a:xfrm>
            <a:off x="2289175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8"/>
          </p:nvPr>
        </p:nvSpPr>
        <p:spPr bwMode="gray">
          <a:xfrm>
            <a:off x="3783013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5276851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6770689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8264526" y="1916113"/>
            <a:ext cx="1368426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3783014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6" y="1196977"/>
            <a:ext cx="136768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5276852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770690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8264526" y="1196977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rm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20"/>
          <p:cNvSpPr>
            <a:spLocks noChangeArrowheads="1"/>
          </p:cNvSpPr>
          <p:nvPr userDrawn="1"/>
        </p:nvSpPr>
        <p:spPr bwMode="gray">
          <a:xfrm rot="19080000" flipH="1">
            <a:off x="6149975" y="242570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AutoShape 17"/>
          <p:cNvSpPr>
            <a:spLocks noChangeArrowheads="1"/>
          </p:cNvSpPr>
          <p:nvPr userDrawn="1"/>
        </p:nvSpPr>
        <p:spPr bwMode="gray">
          <a:xfrm rot="2520000" flipH="1">
            <a:off x="6149975" y="4433888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6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7" name="AutoShape 20"/>
          <p:cNvSpPr>
            <a:spLocks noChangeArrowheads="1"/>
          </p:cNvSpPr>
          <p:nvPr userDrawn="1"/>
        </p:nvSpPr>
        <p:spPr bwMode="gray">
          <a:xfrm rot="2520000">
            <a:off x="4151313" y="242570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AutoShape 17"/>
          <p:cNvSpPr>
            <a:spLocks noChangeArrowheads="1"/>
          </p:cNvSpPr>
          <p:nvPr userDrawn="1"/>
        </p:nvSpPr>
        <p:spPr bwMode="gray">
          <a:xfrm rot="19080000">
            <a:off x="4151313" y="4433888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CA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5362925" y="3324225"/>
            <a:ext cx="1184400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289175" y="1628775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897117" y="1628775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6897117" y="4148137"/>
            <a:ext cx="2735833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7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897117" y="1196977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97117" y="3716339"/>
            <a:ext cx="2735833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289175" y="1628775"/>
            <a:ext cx="3600450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6032500" y="1628775"/>
            <a:ext cx="3600450" cy="1944688"/>
          </a:xfrm>
          <a:solidFill>
            <a:schemeClr val="bg1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3600450" cy="1944688"/>
          </a:xfrm>
          <a:solidFill>
            <a:srgbClr val="BFDEE4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032500" y="4148137"/>
            <a:ext cx="3600450" cy="1944688"/>
          </a:xfrm>
          <a:solidFill>
            <a:srgbClr val="BFDEE4"/>
          </a:solidFill>
          <a:ln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7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032501" y="1196977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032501" y="3716339"/>
            <a:ext cx="3600450" cy="359817"/>
          </a:xfrm>
          <a:solidFill>
            <a:srgbClr val="409DAD"/>
          </a:solidFill>
        </p:spPr>
        <p:txBody>
          <a:bodyPr rtlCol="0" anchor="ctr" anchorCtr="1">
            <a:norm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/>
          </p:cNvSpPr>
          <p:nvPr userDrawn="1"/>
        </p:nvSpPr>
        <p:spPr bwMode="gray">
          <a:xfrm>
            <a:off x="-1588" y="0"/>
            <a:ext cx="5245101" cy="3432175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grpSp>
        <p:nvGrpSpPr>
          <p:cNvPr id="4" name="Group 19"/>
          <p:cNvGrpSpPr>
            <a:grpSpLocks/>
          </p:cNvGrpSpPr>
          <p:nvPr userDrawn="1"/>
        </p:nvGrpSpPr>
        <p:grpSpPr bwMode="auto">
          <a:xfrm>
            <a:off x="128588" y="0"/>
            <a:ext cx="2735262" cy="1530350"/>
            <a:chOff x="68" y="0"/>
            <a:chExt cx="1723" cy="964"/>
          </a:xfrm>
        </p:grpSpPr>
        <p:sp>
          <p:nvSpPr>
            <p:cNvPr id="5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6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29"/>
          <p:cNvSpPr>
            <a:spLocks/>
          </p:cNvSpPr>
          <p:nvPr userDrawn="1"/>
        </p:nvSpPr>
        <p:spPr bwMode="gray">
          <a:xfrm>
            <a:off x="0" y="906463"/>
            <a:ext cx="2000250" cy="5475287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4808190" y="1196975"/>
            <a:ext cx="23050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7329166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7327900" y="1196975"/>
            <a:ext cx="230505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289176" y="1196975"/>
            <a:ext cx="2303785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289176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4809171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273050" y="1195200"/>
            <a:ext cx="1727200" cy="4895850"/>
          </a:xfrm>
        </p:spPr>
        <p:txBody>
          <a:bodyPr rIns="144000" rtlCol="0">
            <a:normAutofit/>
          </a:bodyPr>
          <a:lstStyle>
            <a:lvl1pPr algn="l" defTabSz="914400" rtl="0" eaLnBrk="1" latinLnBrk="0" hangingPunct="1">
              <a:lnSpc>
                <a:spcPct val="135000"/>
              </a:lnSpc>
              <a:spcBef>
                <a:spcPts val="600"/>
              </a:spcBef>
              <a:buFont typeface="Arial" pitchFamily="34" charset="0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5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8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7" name="TextBox 6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3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3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7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9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3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8" name="TextBox 7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1"/>
          </p:nvPr>
        </p:nvSpPr>
        <p:spPr bwMode="gray">
          <a:xfrm>
            <a:off x="5024439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0"/>
          </p:nvPr>
        </p:nvSpPr>
        <p:spPr bwMode="gray">
          <a:xfrm>
            <a:off x="272480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6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8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0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1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2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7" name="TextBox 6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  <p:sp>
        <p:nvSpPr>
          <p:cNvPr id="13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no background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/>
          </p:cNvGrpSpPr>
          <p:nvPr userDrawn="1"/>
        </p:nvGrpSpPr>
        <p:grpSpPr bwMode="auto">
          <a:xfrm>
            <a:off x="269875" y="1193800"/>
            <a:ext cx="9363075" cy="4895850"/>
            <a:chOff x="269875" y="1193800"/>
            <a:chExt cx="9363075" cy="4896000"/>
          </a:xfrm>
        </p:grpSpPr>
        <p:grpSp>
          <p:nvGrpSpPr>
            <p:cNvPr id="3" name="Group 21"/>
            <p:cNvGrpSpPr>
              <a:grpSpLocks/>
            </p:cNvGrpSpPr>
            <p:nvPr userDrawn="1"/>
          </p:nvGrpSpPr>
          <p:grpSpPr bwMode="auto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5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41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6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73"/>
                <a:ext cx="9356725" cy="144467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" name="Rectangle 20"/>
              <p:cNvSpPr>
                <a:spLocks noChangeArrowheads="1"/>
              </p:cNvSpPr>
              <p:nvPr userDrawn="1"/>
            </p:nvSpPr>
            <p:spPr bwMode="gray">
              <a:xfrm>
                <a:off x="2501900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8" name="Rectangle 22"/>
              <p:cNvSpPr>
                <a:spLocks noChangeArrowheads="1"/>
              </p:cNvSpPr>
              <p:nvPr userDrawn="1"/>
            </p:nvSpPr>
            <p:spPr bwMode="gray">
              <a:xfrm>
                <a:off x="4878388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9" name="Rectangle 23"/>
              <p:cNvSpPr>
                <a:spLocks noChangeArrowheads="1"/>
              </p:cNvSpPr>
              <p:nvPr userDrawn="1"/>
            </p:nvSpPr>
            <p:spPr bwMode="gray">
              <a:xfrm>
                <a:off x="7251700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50000"/>
                  </a:spcBef>
                  <a:defRPr/>
                </a:pPr>
                <a:endParaRPr lang="en-US" sz="12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4" name="TextBox 3"/>
            <p:cNvSpPr txBox="1"/>
            <p:nvPr userDrawn="1"/>
          </p:nvSpPr>
          <p:spPr bwMode="gray">
            <a:xfrm>
              <a:off x="5889625" y="5969146"/>
              <a:ext cx="3743325" cy="107953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700" dirty="0">
                  <a:solidFill>
                    <a:srgbClr val="C84E00"/>
                  </a:solidFill>
                  <a:latin typeface="+mn-lt"/>
                  <a:cs typeface="+mn-cs"/>
                </a:rPr>
                <a:t>Appendix layout grid: to remove go to slide Master select Grid object and delete</a:t>
              </a:r>
            </a:p>
          </p:txBody>
        </p:sp>
      </p:grp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72480" y="1196975"/>
            <a:ext cx="936047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>
            <a:spLocks/>
          </p:cNvSpPr>
          <p:nvPr/>
        </p:nvSpPr>
        <p:spPr bwMode="gray">
          <a:xfrm>
            <a:off x="0" y="549275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7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0"/>
          <p:cNvGrpSpPr>
            <a:grpSpLocks/>
          </p:cNvGrpSpPr>
          <p:nvPr userDrawn="1"/>
        </p:nvGrpSpPr>
        <p:grpSpPr bwMode="auto">
          <a:xfrm>
            <a:off x="-11113" y="0"/>
            <a:ext cx="9917113" cy="6858000"/>
            <a:chOff x="-10601325" y="-457200"/>
            <a:chExt cx="9917112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-8240712" y="1362075"/>
              <a:ext cx="7556499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-7169149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8" name="Freeform 7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9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" name="Freeform 11"/>
          <p:cNvSpPr>
            <a:spLocks/>
          </p:cNvSpPr>
          <p:nvPr userDrawn="1"/>
        </p:nvSpPr>
        <p:spPr bwMode="auto">
          <a:xfrm>
            <a:off x="-8240713" y="1362075"/>
            <a:ext cx="7556500" cy="5038725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2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Freeform 15"/>
          <p:cNvSpPr>
            <a:spLocks/>
          </p:cNvSpPr>
          <p:nvPr userDrawn="1"/>
        </p:nvSpPr>
        <p:spPr bwMode="auto">
          <a:xfrm>
            <a:off x="-7169150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5025009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rtlCol="0" anchor="t">
            <a:norm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024439" y="5013325"/>
            <a:ext cx="4537075" cy="1511300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rmAutofit/>
          </a:bodyPr>
          <a:lstStyle>
            <a:lvl1pPr algn="r"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/>
          <p:cNvSpPr>
            <a:spLocks/>
          </p:cNvSpPr>
          <p:nvPr userDrawn="1"/>
        </p:nvSpPr>
        <p:spPr bwMode="gray">
          <a:xfrm>
            <a:off x="0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89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143.xml"/><Relationship Id="rId16" Type="http://schemas.openxmlformats.org/officeDocument/2006/relationships/tags" Target="../tags/tag34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vmlDrawing" Target="../drawings/vmlDrawing14.vml"/><Relationship Id="rId18" Type="http://schemas.openxmlformats.org/officeDocument/2006/relationships/oleObject" Target="../embeddings/oleObject14.bin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11.xml"/><Relationship Id="rId17" Type="http://schemas.openxmlformats.org/officeDocument/2006/relationships/tags" Target="../tags/tag42.xml"/><Relationship Id="rId2" Type="http://schemas.openxmlformats.org/officeDocument/2006/relationships/slideLayout" Target="../slideLayouts/slideLayout157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16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tags" Target="../tags/tag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tags" Target="../tags/tag46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tags" Target="../tags/tag45.xml"/><Relationship Id="rId2" Type="http://schemas.openxmlformats.org/officeDocument/2006/relationships/slideLayout" Target="../slideLayouts/slideLayout168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slideLayout" Target="../slideLayouts/slideLayout193.xml"/><Relationship Id="rId18" Type="http://schemas.openxmlformats.org/officeDocument/2006/relationships/tags" Target="../tags/tag51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tags" Target="../tags/tag50.xml"/><Relationship Id="rId2" Type="http://schemas.openxmlformats.org/officeDocument/2006/relationships/slideLayout" Target="../slideLayouts/slideLayout182.xml"/><Relationship Id="rId16" Type="http://schemas.openxmlformats.org/officeDocument/2006/relationships/tags" Target="../tags/tag49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tags" Target="../tags/tag54.xml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tags" Target="../tags/tag56.xml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tags" Target="../tags/tag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tags" Target="../tags/tag6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vmlDrawing" Target="../drawings/vmlDrawing2.v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0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4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ags" Target="../tags/tag1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1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ags" Target="../tags/tag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66.xml"/><Relationship Id="rId15" Type="http://schemas.openxmlformats.org/officeDocument/2006/relationships/tags" Target="../tags/tag17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9" Type="http://schemas.openxmlformats.org/officeDocument/2006/relationships/oleObject" Target="../embeddings/oleObject5.bin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38" Type="http://schemas.openxmlformats.org/officeDocument/2006/relationships/tags" Target="../tags/tag18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vmlDrawing" Target="../drawings/vmlDrawing5.v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20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ags" Target="../tags/tag1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07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10.xml"/><Relationship Id="rId15" Type="http://schemas.openxmlformats.org/officeDocument/2006/relationships/tags" Target="../tags/tag22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2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17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16.xml"/><Relationship Id="rId16" Type="http://schemas.openxmlformats.org/officeDocument/2006/relationships/vmlDrawing" Target="../drawings/vmlDrawing7.vml"/><Relationship Id="rId20" Type="http://schemas.openxmlformats.org/officeDocument/2006/relationships/tags" Target="../tags/tag2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24.xml"/><Relationship Id="rId19" Type="http://schemas.openxmlformats.org/officeDocument/2006/relationships/tags" Target="../tags/tag2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image" Target="../media/image4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130.xml"/><Relationship Id="rId16" Type="http://schemas.openxmlformats.org/officeDocument/2006/relationships/tags" Target="../tags/tag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tags" Target="../tags/tag29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0" name="Object 56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Europe LLP; член сети независимых фирм КПМГ, входящих в ассоциацию KPMG International Cooperative ("KPMG International"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084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1085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3ECDB4C-05D5-44C1-BBDE-D0C418060C6D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Arial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Arial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Arial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Arial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2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 userDrawn="1">
            <p:custDataLst>
              <p:tags r:id="rId16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457604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2457605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2DF6BE24-61A2-47EE-9CB2-3BCC0B4FBB12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57612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57" r:id="rId2"/>
    <p:sldLayoutId id="2147484258" r:id="rId3"/>
    <p:sldLayoutId id="2147484259" r:id="rId4"/>
    <p:sldLayoutId id="2147484260" r:id="rId5"/>
    <p:sldLayoutId id="2147484261" r:id="rId6"/>
    <p:sldLayoutId id="2147484262" r:id="rId7"/>
    <p:sldLayoutId id="2147484263" r:id="rId8"/>
    <p:sldLayoutId id="2147484264" r:id="rId9"/>
    <p:sldLayoutId id="2147484265" r:id="rId10"/>
    <p:sldLayoutId id="2147484266" r:id="rId11"/>
    <p:sldLayoutId id="2147484267" r:id="rId12"/>
    <p:sldLayoutId id="2147484268" r:id="rId13"/>
    <p:sldLayoutId id="2147484269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92" name="Object 56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5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4396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14397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1761D74C-FB3E-4E1D-97DA-948A55014CD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404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 userDrawn="1">
            <p:custDataLst>
              <p:tags r:id="rId16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488324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2488325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38848B7E-3582-4743-9072-F7CD75AA0BD5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88332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  <p:sldLayoutId id="2147484292" r:id="rId12"/>
    <p:sldLayoutId id="2147484293" r:id="rId13"/>
    <p:sldLayoutId id="2147484294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 userDrawn="1">
            <p:custDataLst>
              <p:tags r:id="rId16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505732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2505733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ADE7C2B-A799-43C9-BEC2-C8183C206A21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05740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  <p:sldLayoutId id="2147484306" r:id="rId12"/>
    <p:sldLayoutId id="2147484307" r:id="rId13"/>
    <p:sldLayoutId id="2147484308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</a:t>
            </a:r>
            <a:r>
              <a:rPr lang="en-US" smtClean="0"/>
              <a:t>4</a:t>
            </a:r>
            <a:r>
              <a:rPr smtClean="0"/>
              <a:t> ЗАО «КПМГ», компания, зарегистрированная в соответствии с законодательством Российской Федерации и являющаяся частью группы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lang="en-US" smtClean="0"/>
              <a:t>Cooperative</a:t>
            </a:r>
            <a:r>
              <a:rPr smtClean="0"/>
              <a:t> (“</a:t>
            </a:r>
            <a:r>
              <a:rPr lang="en-US" smtClean="0"/>
              <a:t>KPMG 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522116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2522117" name="logo"/>
          <p:cNvGrpSpPr>
            <a:grpSpLocks/>
          </p:cNvGrpSpPr>
          <p:nvPr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3D6A0277-F4D0-4F01-8749-4D18BA2BDE7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22124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4" name="Object 56"/>
          <p:cNvGraphicFramePr>
            <a:graphicFrameLocks noChangeAspect="1"/>
          </p:cNvGraphicFramePr>
          <p:nvPr>
            <p:custDataLst>
              <p:tags r:id="rId3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38" imgW="360" imgH="360" progId="">
                  <p:embed/>
                </p:oleObj>
              </mc:Choice>
              <mc:Fallback>
                <p:oleObj name="think-cell Slide" r:id="rId38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06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73050" y="1196975"/>
            <a:ext cx="9359900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21" name="Freeform 27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108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59" name="Rectangle 58"/>
          <p:cNvSpPr/>
          <p:nvPr/>
        </p:nvSpPr>
        <p:spPr bwMode="gray"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>
              <a:spcBef>
                <a:spcPct val="40000"/>
              </a:spcBef>
              <a:defRPr/>
            </a:pPr>
            <a:fld id="{5D62E475-37DD-469B-AA07-8A584F186E24}" type="slidenum">
              <a:rPr lang="en-GB" sz="900">
                <a:solidFill>
                  <a:srgbClr val="00338D"/>
                </a:solidFill>
                <a:latin typeface="+mn-lt"/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900" dirty="0">
              <a:solidFill>
                <a:srgbClr val="00338D"/>
              </a:solidFill>
              <a:latin typeface="+mn-lt"/>
            </a:endParaRPr>
          </a:p>
        </p:txBody>
      </p:sp>
      <p:grpSp>
        <p:nvGrpSpPr>
          <p:cNvPr id="2110" name="Group 26"/>
          <p:cNvGrpSpPr>
            <a:grpSpLocks/>
          </p:cNvGrpSpPr>
          <p:nvPr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ext Box 8"/>
          <p:cNvSpPr txBox="1">
            <a:spLocks noChangeArrowheads="1"/>
          </p:cNvSpPr>
          <p:nvPr/>
        </p:nvSpPr>
        <p:spPr bwMode="gray">
          <a:xfrm>
            <a:off x="279400" y="6381750"/>
            <a:ext cx="762635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>
            <a:spAutoFit/>
          </a:bodyPr>
          <a:lstStyle/>
          <a:p>
            <a:pPr fontAlgn="auto">
              <a:spcBef>
                <a:spcPct val="40000"/>
              </a:spcBef>
              <a:spcAft>
                <a:spcPts val="0"/>
              </a:spcAft>
              <a:defRPr/>
            </a:pP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© 20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>14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ЗАО «КПМГ», компания, зарегистрированная в соответствии с законодательством Российской Федерации и являющаяся частью группы 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Europe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LLP; 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/>
            </a:r>
            <a:b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</a:b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член сети независимых фирм КПМГ, входящих в ассоциацию 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International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Cooperative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(“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International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”), зарегистрированную по законодательству Швейцарии.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> 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Все права защищены.</a:t>
            </a:r>
            <a:endParaRPr lang="en-US" sz="600" dirty="0">
              <a:solidFill>
                <a:srgbClr val="00338D"/>
              </a:solidFill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36" r:id="rId13"/>
    <p:sldLayoutId id="2147484137" r:id="rId14"/>
    <p:sldLayoutId id="2147484138" r:id="rId15"/>
    <p:sldLayoutId id="2147484139" r:id="rId16"/>
    <p:sldLayoutId id="2147484140" r:id="rId17"/>
    <p:sldLayoutId id="2147484141" r:id="rId18"/>
    <p:sldLayoutId id="2147484142" r:id="rId19"/>
    <p:sldLayoutId id="2147484143" r:id="rId20"/>
    <p:sldLayoutId id="2147484144" r:id="rId21"/>
    <p:sldLayoutId id="2147484145" r:id="rId22"/>
    <p:sldLayoutId id="2147484146" r:id="rId23"/>
    <p:sldLayoutId id="2147484147" r:id="rId24"/>
    <p:sldLayoutId id="2147484148" r:id="rId25"/>
    <p:sldLayoutId id="2147484149" r:id="rId26"/>
    <p:sldLayoutId id="2147484150" r:id="rId27"/>
    <p:sldLayoutId id="2147484151" r:id="rId28"/>
    <p:sldLayoutId id="2147484152" r:id="rId29"/>
    <p:sldLayoutId id="2147484153" r:id="rId30"/>
    <p:sldLayoutId id="2147484154" r:id="rId31"/>
    <p:sldLayoutId id="2147484155" r:id="rId32"/>
    <p:sldLayoutId id="2147484156" r:id="rId33"/>
    <p:sldLayoutId id="2147484157" r:id="rId3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16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9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GB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Europe LLP; член сети независимых фирм КПМГ, входящих в ассоциацию KPMG International Cooperative ("KPMG International"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8132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48133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5BDCDB37-1F84-48D2-98C9-66BD5AE533BE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140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28" name="Object 56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Europe LLP; член сети независимых фирм КПМГ, входящих в ассоциацию KPMG International Cooperative ("KPMG International"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132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3133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4745FB9-9749-4C3A-81D6-993E949252CE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40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52" name="Object 56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Europe LLP; член сети независимых фирм КПМГ, входящих в ассоциацию KPMG International Cooperative ("KPMG International"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156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4157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6B478EBC-0A30-4059-ADA4-978BBF699B4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164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76" name="Object 56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39" imgW="360" imgH="360" progId="">
                  <p:embed/>
                </p:oleObj>
              </mc:Choice>
              <mc:Fallback>
                <p:oleObj name="think-cell Slide" r:id="rId39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78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73050" y="1196975"/>
            <a:ext cx="9359900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21" name="Freeform 27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180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59" name="Rectangle 58"/>
          <p:cNvSpPr/>
          <p:nvPr/>
        </p:nvSpPr>
        <p:spPr bwMode="gray"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>
              <a:spcBef>
                <a:spcPct val="40000"/>
              </a:spcBef>
              <a:defRPr/>
            </a:pPr>
            <a:fld id="{1DECD930-E791-474F-ACA5-0F6A2139AF2C}" type="slidenum">
              <a:rPr lang="en-GB" sz="900">
                <a:solidFill>
                  <a:srgbClr val="00338D"/>
                </a:solidFill>
                <a:latin typeface="+mn-lt"/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900" dirty="0">
              <a:solidFill>
                <a:srgbClr val="00338D"/>
              </a:solidFill>
              <a:latin typeface="+mn-lt"/>
            </a:endParaRPr>
          </a:p>
        </p:txBody>
      </p:sp>
      <p:grpSp>
        <p:nvGrpSpPr>
          <p:cNvPr id="5182" name="Group 26"/>
          <p:cNvGrpSpPr>
            <a:grpSpLocks/>
          </p:cNvGrpSpPr>
          <p:nvPr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Text Box 8"/>
          <p:cNvSpPr txBox="1">
            <a:spLocks noChangeArrowheads="1"/>
          </p:cNvSpPr>
          <p:nvPr/>
        </p:nvSpPr>
        <p:spPr bwMode="gray">
          <a:xfrm>
            <a:off x="279400" y="6381750"/>
            <a:ext cx="762635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>
            <a:spAutoFit/>
          </a:bodyPr>
          <a:lstStyle/>
          <a:p>
            <a:pPr fontAlgn="auto">
              <a:spcBef>
                <a:spcPct val="40000"/>
              </a:spcBef>
              <a:spcAft>
                <a:spcPts val="0"/>
              </a:spcAft>
              <a:defRPr/>
            </a:pP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© 20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>14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ЗАО «КПМГ», компания, зарегистрированная в соответствии с законодательством Российской Федерации и являющаяся частью группы 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Europe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LLP; 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/>
            </a:r>
            <a:b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</a:b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член сети независимых фирм КПМГ, входящих в ассоциацию 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International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Cooperative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 (“KPMG </a:t>
            </a:r>
            <a:r>
              <a:rPr lang="ru-RU" sz="600" dirty="0" err="1">
                <a:solidFill>
                  <a:srgbClr val="00338D"/>
                </a:solidFill>
                <a:latin typeface="+mn-lt"/>
                <a:cs typeface="+mn-cs"/>
              </a:rPr>
              <a:t>International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”), зарегистрированную по законодательству Швейцарии.</a:t>
            </a:r>
            <a:r>
              <a:rPr lang="en-US" sz="600" dirty="0">
                <a:solidFill>
                  <a:srgbClr val="00338D"/>
                </a:solidFill>
                <a:latin typeface="+mn-lt"/>
                <a:cs typeface="+mn-cs"/>
              </a:rPr>
              <a:t> </a:t>
            </a:r>
            <a:r>
              <a:rPr lang="ru-RU" sz="600" dirty="0">
                <a:solidFill>
                  <a:srgbClr val="00338D"/>
                </a:solidFill>
                <a:latin typeface="+mn-lt"/>
                <a:cs typeface="+mn-cs"/>
              </a:rPr>
              <a:t>Все права защищены.</a:t>
            </a:r>
            <a:endParaRPr lang="en-US" sz="600" dirty="0">
              <a:solidFill>
                <a:srgbClr val="00338D"/>
              </a:solidFill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  <p:sldLayoutId id="2147484198" r:id="rId14"/>
    <p:sldLayoutId id="2147484199" r:id="rId15"/>
    <p:sldLayoutId id="2147484200" r:id="rId16"/>
    <p:sldLayoutId id="2147484201" r:id="rId17"/>
    <p:sldLayoutId id="2147484202" r:id="rId18"/>
    <p:sldLayoutId id="2147484203" r:id="rId19"/>
    <p:sldLayoutId id="2147484204" r:id="rId20"/>
    <p:sldLayoutId id="2147484205" r:id="rId21"/>
    <p:sldLayoutId id="2147484206" r:id="rId22"/>
    <p:sldLayoutId id="2147484207" r:id="rId23"/>
    <p:sldLayoutId id="2147484208" r:id="rId24"/>
    <p:sldLayoutId id="2147484209" r:id="rId25"/>
    <p:sldLayoutId id="2147484210" r:id="rId26"/>
    <p:sldLayoutId id="2147484211" r:id="rId27"/>
    <p:sldLayoutId id="2147484212" r:id="rId28"/>
    <p:sldLayoutId id="2147484213" r:id="rId29"/>
    <p:sldLayoutId id="2147484214" r:id="rId30"/>
    <p:sldLayoutId id="2147484215" r:id="rId31"/>
    <p:sldLayoutId id="2147484216" r:id="rId32"/>
    <p:sldLayoutId id="2147484217" r:id="rId33"/>
    <p:sldLayoutId id="2147484218" r:id="rId34"/>
    <p:sldLayoutId id="2147484219" r:id="rId3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16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9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GB" sz="9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00" name="Object 56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Europe LLP; член сети независимых фирм КПМГ, входящих в ассоциацию KPMG International Cooperative ("KPMG International"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6204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6205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E0F3075B-FF57-48D5-880B-8DBA4EBE961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6212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24" name="Object 56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gs_textbox_copyright"/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228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7229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2F4571B-CE5E-4AF2-9105-A5C19E0B910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7236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242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s_textbox_copyright"/>
          <p:cNvSpPr txBox="1">
            <a:spLocks/>
          </p:cNvSpPr>
          <p:nvPr userDrawn="1">
            <p:custDataLst>
              <p:tags r:id="rId15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72000" rIns="0" bIns="0"/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smtClean="0"/>
              <a:t>© 2014 ЗАО «КПМГ», компания, зарегистрированная в соответствии с законодательством Российской Федерации и находящаяся под контролем KPMG </a:t>
            </a:r>
            <a:r>
              <a:rPr err="1" smtClean="0"/>
              <a:t>Europe</a:t>
            </a:r>
            <a:r>
              <a:rPr smtClean="0"/>
              <a:t> LLP; член сети независимых фирм КПМГ, входящих в ассоциацию KPMG </a:t>
            </a:r>
            <a:r>
              <a:rPr err="1" smtClean="0"/>
              <a:t>International</a:t>
            </a:r>
            <a:r>
              <a:rPr smtClean="0"/>
              <a:t> </a:t>
            </a:r>
            <a:r>
              <a:rPr err="1" smtClean="0"/>
              <a:t>Cooperative</a:t>
            </a:r>
            <a:r>
              <a:rPr smtClean="0"/>
              <a:t> (“KPMG </a:t>
            </a:r>
            <a:r>
              <a:rPr err="1" smtClean="0"/>
              <a:t>International</a:t>
            </a:r>
            <a:r>
              <a:rPr smtClean="0"/>
              <a:t>”), зарегистрированную по законодательству Швейцарии. Все права защищены.</a:t>
            </a:r>
            <a:endParaRPr lang="en-US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443268" name="Title Placeholder 54"/>
          <p:cNvSpPr>
            <a:spLocks noGrp="1"/>
          </p:cNvSpPr>
          <p:nvPr>
            <p:ph type="title"/>
          </p:nvPr>
        </p:nvSpPr>
        <p:spPr bwMode="gray">
          <a:xfrm>
            <a:off x="2289175" y="115888"/>
            <a:ext cx="73437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[Enter slide </a:t>
            </a:r>
            <a:r>
              <a:rPr lang="en-US" smtClean="0"/>
              <a:t>title</a:t>
            </a:r>
            <a:r>
              <a:rPr lang="en-GB" smtClean="0"/>
              <a:t>]</a:t>
            </a:r>
          </a:p>
        </p:txBody>
      </p:sp>
      <p:grpSp>
        <p:nvGrpSpPr>
          <p:cNvPr id="2443269" name="logo"/>
          <p:cNvGrpSpPr>
            <a:grpSpLocks/>
          </p:cNvGrpSpPr>
          <p:nvPr userDrawn="1"/>
        </p:nvGrpSpPr>
        <p:grpSpPr bwMode="auto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1300" y="6381750"/>
            <a:ext cx="50165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90488AA-E760-4207-A06D-627F57F5DFD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gray">
          <a:xfrm>
            <a:off x="2289175" y="6092825"/>
            <a:ext cx="7343775" cy="1285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0000"/>
                </a:solidFill>
                <a:latin typeface="+mn-lt"/>
                <a:cs typeface="+mn-cs"/>
              </a:rPr>
              <a:t>[file path]</a:t>
            </a:r>
            <a:endParaRPr lang="en-GB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19" name="bgs_textbox_watermark_top" hidden="1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6032500" y="908050"/>
            <a:ext cx="3600450" cy="2889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36000" rIns="0" bIns="0"/>
          <a:lstStyle/>
          <a:p>
            <a:pPr algn="r" defTabSz="7620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200" b="1">
                <a:solidFill>
                  <a:srgbClr val="9E3039"/>
                </a:solidFill>
                <a:latin typeface="+mn-lt"/>
                <a:cs typeface="+mn-cs"/>
              </a:rPr>
              <a:t>ПРОЕКТ</a:t>
            </a:r>
            <a:endParaRPr lang="en-GB" sz="1200" b="1" dirty="0">
              <a:solidFill>
                <a:srgbClr val="9E3039"/>
              </a:solidFill>
              <a:latin typeface="+mn-lt"/>
              <a:cs typeface="+mn-cs"/>
            </a:endParaRPr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stamp"/>
          <p:cNvSpPr txBox="1"/>
          <p:nvPr userDrawn="1"/>
        </p:nvSpPr>
        <p:spPr>
          <a:xfrm>
            <a:off x="9777413" y="906463"/>
            <a:ext cx="128587" cy="246062"/>
          </a:xfrm>
          <a:prstGeom prst="rect">
            <a:avLst/>
          </a:prstGeom>
          <a:noFill/>
        </p:spPr>
        <p:txBody>
          <a:bodyPr wrap="none" lIns="0" tIns="0" rIns="127000" b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C84E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43276" name="Text Placeholder 21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8" r:id="rId6"/>
    <p:sldLayoutId id="2147484249" r:id="rId7"/>
    <p:sldLayoutId id="2147484250" r:id="rId8"/>
    <p:sldLayoutId id="2147484251" r:id="rId9"/>
    <p:sldLayoutId id="2147484252" r:id="rId10"/>
    <p:sldLayoutId id="2147484253" r:id="rId11"/>
    <p:sldLayoutId id="2147484254" r:id="rId12"/>
    <p:sldLayoutId id="214748425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400" b="1" kern="1200" dirty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00338D"/>
          </a:solidFill>
          <a:latin typeface="+mj-lt"/>
          <a:cs typeface="Arial" pitchFamily="34" charset="0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66.xml"/><Relationship Id="rId11" Type="http://schemas.openxmlformats.org/officeDocument/2006/relationships/image" Target="../media/image2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64.xml"/><Relationship Id="rId9" Type="http://schemas.openxmlformats.org/officeDocument/2006/relationships/notesSlide" Target="../notesSlides/notesSlid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.xml"/><Relationship Id="rId7" Type="http://schemas.openxmlformats.org/officeDocument/2006/relationships/image" Target="../media/image7.png"/><Relationship Id="rId2" Type="http://schemas.openxmlformats.org/officeDocument/2006/relationships/tags" Target="../tags/tag7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119.xml"/><Relationship Id="rId7" Type="http://schemas.openxmlformats.org/officeDocument/2006/relationships/image" Target="../media/image11.jpeg"/><Relationship Id="rId12" Type="http://schemas.openxmlformats.org/officeDocument/2006/relationships/image" Target="../media/image7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jpeg"/><Relationship Id="rId11" Type="http://schemas.openxmlformats.org/officeDocument/2006/relationships/image" Target="../media/image4.emf"/><Relationship Id="rId5" Type="http://schemas.openxmlformats.org/officeDocument/2006/relationships/image" Target="../media/image9.jpeg"/><Relationship Id="rId10" Type="http://schemas.openxmlformats.org/officeDocument/2006/relationships/oleObject" Target="../embeddings/oleObject21.bin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7" Type="http://schemas.openxmlformats.org/officeDocument/2006/relationships/chart" Target="../charts/chart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115.xml"/><Relationship Id="rId7" Type="http://schemas.openxmlformats.org/officeDocument/2006/relationships/chart" Target="../charts/char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10" Type="http://schemas.openxmlformats.org/officeDocument/2006/relationships/chart" Target="../charts/chart5.xml"/><Relationship Id="rId4" Type="http://schemas.openxmlformats.org/officeDocument/2006/relationships/oleObject" Target="../embeddings/oleObject23.bin"/><Relationship Id="rId9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15.xml"/><Relationship Id="rId7" Type="http://schemas.openxmlformats.org/officeDocument/2006/relationships/image" Target="../media/image14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906000" cy="1365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35426" name="Прямоугольник 5"/>
          <p:cNvSpPr>
            <a:spLocks noChangeArrowheads="1"/>
          </p:cNvSpPr>
          <p:nvPr/>
        </p:nvSpPr>
        <p:spPr bwMode="auto">
          <a:xfrm>
            <a:off x="1892300" y="2468563"/>
            <a:ext cx="85455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b="1" dirty="0">
                <a:latin typeface="Tahoma" pitchFamily="34" charset="0"/>
              </a:rPr>
              <a:t>МАЛЫЙ </a:t>
            </a:r>
            <a:r>
              <a:rPr lang="ru-RU" altLang="ru-RU" b="1" dirty="0" smtClean="0">
                <a:latin typeface="Tahoma" pitchFamily="34" charset="0"/>
              </a:rPr>
              <a:t>И СРЕДНИЙ БИЗНЕС </a:t>
            </a:r>
            <a:endParaRPr lang="ru-RU" altLang="ru-RU" b="1" dirty="0">
              <a:latin typeface="Tahoma" pitchFamily="34" charset="0"/>
            </a:endParaRPr>
          </a:p>
        </p:txBody>
      </p:sp>
      <p:grpSp>
        <p:nvGrpSpPr>
          <p:cNvPr id="2535427" name="Группа 17"/>
          <p:cNvGrpSpPr>
            <a:grpSpLocks/>
          </p:cNvGrpSpPr>
          <p:nvPr/>
        </p:nvGrpSpPr>
        <p:grpSpPr bwMode="auto">
          <a:xfrm>
            <a:off x="1585913" y="2446338"/>
            <a:ext cx="111125" cy="668337"/>
            <a:chOff x="816607" y="4570637"/>
            <a:chExt cx="39600" cy="75600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6607" y="5073440"/>
              <a:ext cx="39600" cy="25319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816607" y="4823834"/>
              <a:ext cx="39600" cy="249606"/>
            </a:xfrm>
            <a:prstGeom prst="rect">
              <a:avLst/>
            </a:prstGeom>
            <a:solidFill>
              <a:srgbClr val="095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16607" y="4570637"/>
              <a:ext cx="36771" cy="253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535429" name="Прямоугольник 5"/>
          <p:cNvSpPr>
            <a:spLocks noChangeArrowheads="1"/>
          </p:cNvSpPr>
          <p:nvPr/>
        </p:nvSpPr>
        <p:spPr bwMode="auto">
          <a:xfrm>
            <a:off x="742950" y="5070475"/>
            <a:ext cx="8956675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/>
              <a:t>Ходоева Регина Викторовна</a:t>
            </a:r>
          </a:p>
          <a:p>
            <a:r>
              <a:rPr lang="ru-RU" sz="1200" b="1"/>
              <a:t>Заместитель начальника управления малого и среднего предпринимательства Министерства экономического развития Иркутской области</a:t>
            </a:r>
          </a:p>
        </p:txBody>
      </p:sp>
      <p:pic>
        <p:nvPicPr>
          <p:cNvPr id="2535430" name="Рисунок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4563" y="131763"/>
            <a:ext cx="88423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2032000" y="86995"/>
            <a:ext cx="4751388" cy="118110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2900" dirty="0" smtClean="0">
                <a:latin typeface="Corbel" panose="020B0503020204020204" pitchFamily="34" charset="0"/>
                <a:cs typeface="Arial" pitchFamily="34" charset="0"/>
              </a:rPr>
              <a:t>Минэкономразвития России</a:t>
            </a:r>
          </a:p>
          <a:p>
            <a:pPr algn="ctr"/>
            <a:r>
              <a:rPr lang="ru-RU" sz="1700" dirty="0" smtClean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cs typeface="Arial" pitchFamily="34" charset="0"/>
              </a:rPr>
              <a:t>Министерство экономического развития</a:t>
            </a:r>
          </a:p>
          <a:p>
            <a:pPr algn="ctr"/>
            <a:r>
              <a:rPr lang="ru-RU" sz="1700" dirty="0" smtClean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cs typeface="Arial" pitchFamily="34" charset="0"/>
              </a:rPr>
              <a:t>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Прямоугольник 50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22585" name="Object 5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180975" y="1697038"/>
            <a:ext cx="9451975" cy="768350"/>
          </a:xfrm>
          <a:prstGeom prst="rect">
            <a:avLst/>
          </a:prstGeom>
          <a:solidFill>
            <a:srgbClr val="E5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58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Программа Министерства экономического развития РФ</a:t>
            </a:r>
            <a:endParaRPr smtClean="0">
              <a:latin typeface="Arial" charset="0"/>
              <a:cs typeface="Arial" charset="0"/>
            </a:endParaRPr>
          </a:p>
        </p:txBody>
      </p:sp>
      <p:sp>
        <p:nvSpPr>
          <p:cNvPr id="22590" name="TextBox 54"/>
          <p:cNvSpPr txBox="1">
            <a:spLocks noChangeArrowheads="1"/>
          </p:cNvSpPr>
          <p:nvPr/>
        </p:nvSpPr>
        <p:spPr bwMode="auto">
          <a:xfrm>
            <a:off x="704850" y="1404938"/>
            <a:ext cx="22764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100" b="1">
                <a:solidFill>
                  <a:srgbClr val="000000"/>
                </a:solidFill>
              </a:rPr>
              <a:t>Программы и исполнители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22591" name="TextBox 28"/>
          <p:cNvSpPr txBox="1">
            <a:spLocks noChangeArrowheads="1"/>
          </p:cNvSpPr>
          <p:nvPr/>
        </p:nvSpPr>
        <p:spPr bwMode="auto">
          <a:xfrm>
            <a:off x="8140700" y="1404938"/>
            <a:ext cx="16065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100" b="1">
                <a:solidFill>
                  <a:srgbClr val="000000"/>
                </a:solidFill>
              </a:rPr>
              <a:t>Бюджет в 2014 году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22592" name="TextBox 53"/>
          <p:cNvSpPr txBox="1">
            <a:spLocks noChangeArrowheads="1"/>
          </p:cNvSpPr>
          <p:nvPr/>
        </p:nvSpPr>
        <p:spPr bwMode="auto">
          <a:xfrm>
            <a:off x="4533900" y="1404938"/>
            <a:ext cx="287496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100" b="1">
                <a:solidFill>
                  <a:srgbClr val="000000"/>
                </a:solidFill>
              </a:rPr>
              <a:t>Цели программы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22593" name="TextBox 46"/>
          <p:cNvSpPr txBox="1">
            <a:spLocks noChangeArrowheads="1"/>
          </p:cNvSpPr>
          <p:nvPr/>
        </p:nvSpPr>
        <p:spPr bwMode="auto">
          <a:xfrm>
            <a:off x="3900488" y="1757363"/>
            <a:ext cx="4214812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r>
              <a:rPr lang="ru-RU" sz="1100">
                <a:solidFill>
                  <a:srgbClr val="000000"/>
                </a:solidFill>
              </a:rPr>
              <a:t>Субсидии на государственную поддержку малого и среднего предпринимательства</a:t>
            </a:r>
          </a:p>
          <a:p>
            <a:r>
              <a:rPr lang="ru-RU" sz="1100">
                <a:solidFill>
                  <a:srgbClr val="000000"/>
                </a:solidFill>
              </a:rPr>
              <a:t>Создание Агентства Кредитных Гарантий</a:t>
            </a:r>
          </a:p>
        </p:txBody>
      </p:sp>
      <p:grpSp>
        <p:nvGrpSpPr>
          <p:cNvPr id="22594" name="Group 78"/>
          <p:cNvGrpSpPr>
            <a:grpSpLocks/>
          </p:cNvGrpSpPr>
          <p:nvPr/>
        </p:nvGrpSpPr>
        <p:grpSpPr bwMode="auto">
          <a:xfrm>
            <a:off x="174625" y="1709738"/>
            <a:ext cx="3427413" cy="731837"/>
            <a:chOff x="173933" y="1414114"/>
            <a:chExt cx="2771999" cy="831299"/>
          </a:xfrm>
        </p:grpSpPr>
        <p:sp>
          <p:nvSpPr>
            <p:cNvPr id="92" name="Pentagon 91"/>
            <p:cNvSpPr/>
            <p:nvPr>
              <p:custDataLst>
                <p:tags r:id="rId7"/>
              </p:custDataLst>
            </p:nvPr>
          </p:nvSpPr>
          <p:spPr>
            <a:xfrm>
              <a:off x="173933" y="1423130"/>
              <a:ext cx="2771999" cy="822283"/>
            </a:xfrm>
            <a:prstGeom prst="homePlate">
              <a:avLst>
                <a:gd name="adj" fmla="val 25000"/>
              </a:avLst>
            </a:prstGeom>
            <a:solidFill>
              <a:srgbClr val="007C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>
                <a:solidFill>
                  <a:srgbClr val="FFFFFF"/>
                </a:solidFill>
              </a:endParaRPr>
            </a:p>
          </p:txBody>
        </p:sp>
        <p:sp>
          <p:nvSpPr>
            <p:cNvPr id="22635" name="TextBox 52"/>
            <p:cNvSpPr txBox="1">
              <a:spLocks noChangeArrowheads="1"/>
            </p:cNvSpPr>
            <p:nvPr/>
          </p:nvSpPr>
          <p:spPr bwMode="auto">
            <a:xfrm>
              <a:off x="173937" y="1414114"/>
              <a:ext cx="255666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0" bIns="0" anchor="ctr"/>
            <a:lstStyle/>
            <a:p>
              <a:pPr>
                <a:buClr>
                  <a:srgbClr val="97989A"/>
                </a:buClr>
              </a:pPr>
              <a:r>
                <a:rPr lang="ru-RU" sz="1200" b="1">
                  <a:solidFill>
                    <a:srgbClr val="FFFFFF"/>
                  </a:solidFill>
                </a:rPr>
                <a:t>Минэкономразвития</a:t>
              </a:r>
              <a:endParaRPr lang="ru-RU" sz="1100" b="1">
                <a:solidFill>
                  <a:srgbClr val="FFFFFF"/>
                </a:solidFill>
              </a:endParaRP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Федеральная финансовая программа поддержки МСП </a:t>
              </a: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Создание Агентства Кредитных Гарантий</a:t>
              </a: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168275" y="2478088"/>
            <a:ext cx="9431338" cy="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96" name="Rectangle 64"/>
          <p:cNvSpPr>
            <a:spLocks noChangeArrowheads="1"/>
          </p:cNvSpPr>
          <p:nvPr/>
        </p:nvSpPr>
        <p:spPr bwMode="auto">
          <a:xfrm>
            <a:off x="3900488" y="2619375"/>
            <a:ext cx="421481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r>
              <a:rPr lang="ru-RU" sz="1100">
                <a:solidFill>
                  <a:srgbClr val="000000"/>
                </a:solidFill>
              </a:rPr>
              <a:t>Гарантии субъектам среднего предпринимательства на реализацию инвестиционных проектов</a:t>
            </a:r>
          </a:p>
        </p:txBody>
      </p:sp>
      <p:grpSp>
        <p:nvGrpSpPr>
          <p:cNvPr id="22597" name="Group 66"/>
          <p:cNvGrpSpPr>
            <a:grpSpLocks/>
          </p:cNvGrpSpPr>
          <p:nvPr/>
        </p:nvGrpSpPr>
        <p:grpSpPr bwMode="auto">
          <a:xfrm>
            <a:off x="161925" y="2522538"/>
            <a:ext cx="3427413" cy="731837"/>
            <a:chOff x="161897" y="2510375"/>
            <a:chExt cx="2772000" cy="822960"/>
          </a:xfrm>
        </p:grpSpPr>
        <p:sp>
          <p:nvSpPr>
            <p:cNvPr id="93" name="Pentagon 92"/>
            <p:cNvSpPr/>
            <p:nvPr>
              <p:custDataLst>
                <p:tags r:id="rId6"/>
              </p:custDataLst>
            </p:nvPr>
          </p:nvSpPr>
          <p:spPr>
            <a:xfrm>
              <a:off x="161897" y="2510375"/>
              <a:ext cx="2772000" cy="822960"/>
            </a:xfrm>
            <a:prstGeom prst="homePlate">
              <a:avLst>
                <a:gd name="adj" fmla="val 25000"/>
              </a:avLst>
            </a:prstGeom>
            <a:solidFill>
              <a:srgbClr val="007C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22633" name="Rectangle 55"/>
            <p:cNvSpPr>
              <a:spLocks noChangeArrowheads="1"/>
            </p:cNvSpPr>
            <p:nvPr/>
          </p:nvSpPr>
          <p:spPr bwMode="auto">
            <a:xfrm>
              <a:off x="212034" y="2510375"/>
              <a:ext cx="2518563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0" bIns="0" anchor="ctr"/>
            <a:lstStyle/>
            <a:p>
              <a:pPr>
                <a:buClr>
                  <a:srgbClr val="97989A"/>
                </a:buClr>
              </a:pPr>
              <a:r>
                <a:rPr lang="ru-RU" sz="1200" b="1">
                  <a:solidFill>
                    <a:srgbClr val="FFFFFF"/>
                  </a:solidFill>
                </a:rPr>
                <a:t>Внешэкономбанк</a:t>
              </a: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Программы льготного кредитования и предоставления гарантий</a:t>
              </a:r>
            </a:p>
          </p:txBody>
        </p:sp>
      </p:grpSp>
      <p:sp>
        <p:nvSpPr>
          <p:cNvPr id="22598" name="Rectangle 65"/>
          <p:cNvSpPr>
            <a:spLocks noChangeArrowheads="1"/>
          </p:cNvSpPr>
          <p:nvPr/>
        </p:nvSpPr>
        <p:spPr bwMode="auto">
          <a:xfrm>
            <a:off x="3900488" y="3414713"/>
            <a:ext cx="421481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r>
              <a:rPr lang="ru-RU" sz="1100">
                <a:solidFill>
                  <a:srgbClr val="000000"/>
                </a:solidFill>
              </a:rPr>
              <a:t>Поддержка малых форм хозяйствования, поддержка начинающих фермеров, развитие семейных животноводческих ферм, оформление земельных участков</a:t>
            </a:r>
          </a:p>
        </p:txBody>
      </p:sp>
      <p:grpSp>
        <p:nvGrpSpPr>
          <p:cNvPr id="22599" name="Group 86"/>
          <p:cNvGrpSpPr>
            <a:grpSpLocks/>
          </p:cNvGrpSpPr>
          <p:nvPr/>
        </p:nvGrpSpPr>
        <p:grpSpPr bwMode="auto">
          <a:xfrm>
            <a:off x="174625" y="3338513"/>
            <a:ext cx="3427413" cy="730250"/>
            <a:chOff x="174598" y="3467290"/>
            <a:chExt cx="2772000" cy="828353"/>
          </a:xfrm>
        </p:grpSpPr>
        <p:sp>
          <p:nvSpPr>
            <p:cNvPr id="94" name="Pentagon 93"/>
            <p:cNvSpPr/>
            <p:nvPr>
              <p:custDataLst>
                <p:tags r:id="rId5"/>
              </p:custDataLst>
            </p:nvPr>
          </p:nvSpPr>
          <p:spPr>
            <a:xfrm>
              <a:off x="174598" y="3472692"/>
              <a:ext cx="2772000" cy="822951"/>
            </a:xfrm>
            <a:prstGeom prst="homePlate">
              <a:avLst>
                <a:gd name="adj" fmla="val 25000"/>
              </a:avLst>
            </a:prstGeom>
            <a:solidFill>
              <a:srgbClr val="007C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22631" name="Rectangle 56"/>
            <p:cNvSpPr>
              <a:spLocks noChangeArrowheads="1"/>
            </p:cNvSpPr>
            <p:nvPr/>
          </p:nvSpPr>
          <p:spPr bwMode="auto">
            <a:xfrm>
              <a:off x="174598" y="3467290"/>
              <a:ext cx="255600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0" bIns="0" anchor="ctr"/>
            <a:lstStyle/>
            <a:p>
              <a:pPr>
                <a:buClr>
                  <a:srgbClr val="97989A"/>
                </a:buClr>
              </a:pPr>
              <a:r>
                <a:rPr lang="ru-RU" sz="1200" b="1">
                  <a:solidFill>
                    <a:srgbClr val="FFFFFF"/>
                  </a:solidFill>
                </a:rPr>
                <a:t>Минсельхоз России</a:t>
              </a: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Программа поддержки субъектов МСП в агропромышленном комплексе</a:t>
              </a:r>
            </a:p>
          </p:txBody>
        </p:sp>
      </p:grpSp>
      <p:sp>
        <p:nvSpPr>
          <p:cNvPr id="22600" name="Rectangle 71"/>
          <p:cNvSpPr>
            <a:spLocks noChangeArrowheads="1"/>
          </p:cNvSpPr>
          <p:nvPr/>
        </p:nvSpPr>
        <p:spPr bwMode="auto">
          <a:xfrm>
            <a:off x="3900488" y="4246563"/>
            <a:ext cx="421481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r>
              <a:rPr lang="ru-RU" sz="1100">
                <a:solidFill>
                  <a:srgbClr val="000000"/>
                </a:solidFill>
              </a:rPr>
              <a:t>Прикладные научные исследования и разработки</a:t>
            </a:r>
          </a:p>
        </p:txBody>
      </p:sp>
      <p:grpSp>
        <p:nvGrpSpPr>
          <p:cNvPr id="22601" name="Group 87"/>
          <p:cNvGrpSpPr>
            <a:grpSpLocks/>
          </p:cNvGrpSpPr>
          <p:nvPr/>
        </p:nvGrpSpPr>
        <p:grpSpPr bwMode="auto">
          <a:xfrm>
            <a:off x="174625" y="4168775"/>
            <a:ext cx="3427413" cy="731838"/>
            <a:chOff x="174598" y="4369013"/>
            <a:chExt cx="2772000" cy="822960"/>
          </a:xfrm>
        </p:grpSpPr>
        <p:sp>
          <p:nvSpPr>
            <p:cNvPr id="95" name="Pentagon 94"/>
            <p:cNvSpPr/>
            <p:nvPr>
              <p:custDataLst>
                <p:tags r:id="rId4"/>
              </p:custDataLst>
            </p:nvPr>
          </p:nvSpPr>
          <p:spPr>
            <a:xfrm>
              <a:off x="174598" y="4369013"/>
              <a:ext cx="2772000" cy="822960"/>
            </a:xfrm>
            <a:prstGeom prst="homePlate">
              <a:avLst>
                <a:gd name="adj" fmla="val 25000"/>
              </a:avLst>
            </a:prstGeom>
            <a:solidFill>
              <a:srgbClr val="007C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>
                <a:solidFill>
                  <a:srgbClr val="FFFFFF"/>
                </a:solidFill>
              </a:endParaRPr>
            </a:p>
          </p:txBody>
        </p:sp>
        <p:sp>
          <p:nvSpPr>
            <p:cNvPr id="22629" name="Rectangle 57"/>
            <p:cNvSpPr>
              <a:spLocks noChangeArrowheads="1"/>
            </p:cNvSpPr>
            <p:nvPr/>
          </p:nvSpPr>
          <p:spPr bwMode="auto">
            <a:xfrm>
              <a:off x="174598" y="4369013"/>
              <a:ext cx="255600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0" bIns="0" anchor="ctr"/>
            <a:lstStyle/>
            <a:p>
              <a:pPr>
                <a:buClr>
                  <a:srgbClr val="97989A"/>
                </a:buClr>
              </a:pPr>
              <a:r>
                <a:rPr lang="ru-RU" sz="1200" b="1">
                  <a:solidFill>
                    <a:srgbClr val="FFFFFF"/>
                  </a:solidFill>
                </a:rPr>
                <a:t>Минобрнауки </a:t>
              </a: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Меры, направленные на поддержку МСП в научно-технической сфере</a:t>
              </a:r>
            </a:p>
          </p:txBody>
        </p:sp>
      </p:grpSp>
      <p:sp>
        <p:nvSpPr>
          <p:cNvPr id="22602" name="Rectangle 68"/>
          <p:cNvSpPr>
            <a:spLocks noChangeArrowheads="1"/>
          </p:cNvSpPr>
          <p:nvPr/>
        </p:nvSpPr>
        <p:spPr bwMode="auto">
          <a:xfrm>
            <a:off x="3900488" y="5080000"/>
            <a:ext cx="4214812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r>
              <a:rPr lang="ru-RU" sz="1100">
                <a:solidFill>
                  <a:srgbClr val="000000"/>
                </a:solidFill>
              </a:rPr>
              <a:t>Содействие самозанятости безработных</a:t>
            </a:r>
          </a:p>
        </p:txBody>
      </p:sp>
      <p:grpSp>
        <p:nvGrpSpPr>
          <p:cNvPr id="22603" name="Group 88"/>
          <p:cNvGrpSpPr>
            <a:grpSpLocks/>
          </p:cNvGrpSpPr>
          <p:nvPr/>
        </p:nvGrpSpPr>
        <p:grpSpPr bwMode="auto">
          <a:xfrm>
            <a:off x="174625" y="4994275"/>
            <a:ext cx="3427413" cy="731838"/>
            <a:chOff x="174597" y="5258385"/>
            <a:chExt cx="2558430" cy="822960"/>
          </a:xfrm>
        </p:grpSpPr>
        <p:sp>
          <p:nvSpPr>
            <p:cNvPr id="96" name="Pentagon 95"/>
            <p:cNvSpPr/>
            <p:nvPr>
              <p:custDataLst>
                <p:tags r:id="rId3"/>
              </p:custDataLst>
            </p:nvPr>
          </p:nvSpPr>
          <p:spPr>
            <a:xfrm>
              <a:off x="174597" y="5258385"/>
              <a:ext cx="2558430" cy="822960"/>
            </a:xfrm>
            <a:prstGeom prst="homePlate">
              <a:avLst>
                <a:gd name="adj" fmla="val 25033"/>
              </a:avLst>
            </a:prstGeom>
            <a:solidFill>
              <a:srgbClr val="007C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>
                <a:solidFill>
                  <a:srgbClr val="FFFFFF"/>
                </a:solidFill>
              </a:endParaRPr>
            </a:p>
          </p:txBody>
        </p:sp>
        <p:sp>
          <p:nvSpPr>
            <p:cNvPr id="22627" name="Rectangle 67"/>
            <p:cNvSpPr>
              <a:spLocks noChangeArrowheads="1"/>
            </p:cNvSpPr>
            <p:nvPr/>
          </p:nvSpPr>
          <p:spPr bwMode="auto">
            <a:xfrm>
              <a:off x="174598" y="5258385"/>
              <a:ext cx="255600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2000" tIns="0" rIns="0" bIns="0" anchor="ctr"/>
            <a:lstStyle/>
            <a:p>
              <a:pPr>
                <a:buClr>
                  <a:srgbClr val="97989A"/>
                </a:buClr>
              </a:pPr>
              <a:r>
                <a:rPr lang="ru-RU" sz="1200" b="1">
                  <a:solidFill>
                    <a:srgbClr val="FFFFFF"/>
                  </a:solidFill>
                </a:rPr>
                <a:t>Минтруд России</a:t>
              </a:r>
            </a:p>
            <a:p>
              <a:pPr>
                <a:buClr>
                  <a:srgbClr val="97989A"/>
                </a:buClr>
              </a:pPr>
              <a:r>
                <a:rPr lang="ru-RU" sz="1100" i="1">
                  <a:solidFill>
                    <a:srgbClr val="FFFFFF"/>
                  </a:solidFill>
                </a:rPr>
                <a:t>Программа содействия самозанятости безработных граждан</a:t>
              </a:r>
            </a:p>
          </p:txBody>
        </p:sp>
      </p:grpSp>
      <p:cxnSp>
        <p:nvCxnSpPr>
          <p:cNvPr id="81" name="Straight Connector 80"/>
          <p:cNvCxnSpPr/>
          <p:nvPr/>
        </p:nvCxnSpPr>
        <p:spPr>
          <a:xfrm>
            <a:off x="179388" y="3297238"/>
            <a:ext cx="9431337" cy="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179388" y="4110038"/>
            <a:ext cx="9431337" cy="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179388" y="4945063"/>
            <a:ext cx="9431337" cy="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 flipV="1">
            <a:off x="190500" y="1630363"/>
            <a:ext cx="3502025" cy="1587"/>
          </a:xfrm>
          <a:prstGeom prst="line">
            <a:avLst/>
          </a:prstGeom>
          <a:ln w="3175">
            <a:solidFill>
              <a:srgbClr val="979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3900488" y="1630363"/>
            <a:ext cx="4214812" cy="1587"/>
          </a:xfrm>
          <a:prstGeom prst="line">
            <a:avLst/>
          </a:prstGeom>
          <a:ln w="3175">
            <a:solidFill>
              <a:srgbClr val="979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V="1">
            <a:off x="8247063" y="1631950"/>
            <a:ext cx="1368425" cy="0"/>
          </a:xfrm>
          <a:prstGeom prst="line">
            <a:avLst/>
          </a:prstGeom>
          <a:ln w="3175">
            <a:solidFill>
              <a:srgbClr val="979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8394700" y="1865313"/>
            <a:ext cx="1155700" cy="4857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2</a:t>
            </a:r>
            <a:r>
              <a:rPr lang="en-US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1</a:t>
            </a: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,</a:t>
            </a:r>
            <a:r>
              <a:rPr lang="en-US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50</a:t>
            </a: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 млрд руб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50,47 млрд руб.</a:t>
            </a:r>
            <a:endParaRPr lang="en-US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8394700" y="2684463"/>
            <a:ext cx="1155700" cy="4857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Из федерального бюджета средства не выделялись</a:t>
            </a:r>
            <a:endParaRPr lang="en-US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394700" y="3622675"/>
            <a:ext cx="1155700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8,2 млрд руб.</a:t>
            </a:r>
            <a:endParaRPr lang="en-US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394700" y="4452938"/>
            <a:ext cx="1155700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5</a:t>
            </a: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,0 млрд руб.</a:t>
            </a:r>
            <a:endParaRPr lang="en-US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8296275" y="5118100"/>
            <a:ext cx="1352550" cy="4841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srgbClr val="000000"/>
                </a:solidFill>
                <a:latin typeface="+mn-lt"/>
                <a:cs typeface="Arial" pitchFamily="34" charset="0"/>
              </a:rPr>
              <a:t>Из федерального бюджета средства не выделялись</a:t>
            </a:r>
            <a:endParaRPr lang="en-US" sz="1050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2" name="Straight Connector 121"/>
          <p:cNvCxnSpPr/>
          <p:nvPr/>
        </p:nvCxnSpPr>
        <p:spPr>
          <a:xfrm>
            <a:off x="3800475" y="1631950"/>
            <a:ext cx="1588" cy="4179888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8178800" y="1631950"/>
            <a:ext cx="1588" cy="457200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>
            <a:off x="187325" y="1081088"/>
            <a:ext cx="3151188" cy="18256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97989A"/>
              </a:buClr>
              <a:defRPr/>
            </a:pPr>
            <a:r>
              <a:rPr lang="ru-RU" sz="1250" b="1" dirty="0">
                <a:solidFill>
                  <a:srgbClr val="00338D"/>
                </a:solidFill>
                <a:latin typeface="+mn-lt"/>
                <a:cs typeface="Arial" pitchFamily="34" charset="0"/>
              </a:rPr>
              <a:t>Программы поддержки субъектов МСП</a:t>
            </a:r>
            <a:endParaRPr lang="en-US" sz="1250" b="1" dirty="0">
              <a:solidFill>
                <a:srgbClr val="00338D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5" name="Straight Connector 124"/>
          <p:cNvCxnSpPr/>
          <p:nvPr/>
        </p:nvCxnSpPr>
        <p:spPr>
          <a:xfrm flipV="1">
            <a:off x="161925" y="1301750"/>
            <a:ext cx="9486900" cy="1588"/>
          </a:xfrm>
          <a:prstGeom prst="line">
            <a:avLst/>
          </a:prstGeom>
          <a:ln w="3175">
            <a:solidFill>
              <a:srgbClr val="979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179388" y="5810250"/>
            <a:ext cx="9431337" cy="0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20" name="TextBox 127"/>
          <p:cNvSpPr txBox="1">
            <a:spLocks noChangeArrowheads="1"/>
          </p:cNvSpPr>
          <p:nvPr/>
        </p:nvSpPr>
        <p:spPr bwMode="auto">
          <a:xfrm>
            <a:off x="7327900" y="5854700"/>
            <a:ext cx="792163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200" b="1">
                <a:solidFill>
                  <a:srgbClr val="000000"/>
                </a:solidFill>
              </a:rPr>
              <a:t>Итого:</a:t>
            </a: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8472488" y="5854700"/>
            <a:ext cx="1168400" cy="3905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97989A"/>
              </a:buClr>
              <a:defRPr/>
            </a:pPr>
            <a:r>
              <a:rPr lang="en-US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~</a:t>
            </a:r>
            <a:r>
              <a:rPr lang="ru-RU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8</a:t>
            </a:r>
            <a:r>
              <a:rPr lang="en-US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5</a:t>
            </a:r>
            <a:r>
              <a:rPr lang="ru-RU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,</a:t>
            </a:r>
            <a:r>
              <a:rPr lang="en-US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</a:t>
            </a:r>
            <a:r>
              <a:rPr lang="ru-RU" sz="105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 млрд руб.</a:t>
            </a:r>
            <a:endParaRPr lang="en-US" sz="1050" b="1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Referencebox"/>
          <p:cNvSpPr/>
          <p:nvPr/>
        </p:nvSpPr>
        <p:spPr>
          <a:xfrm>
            <a:off x="304800" y="6194425"/>
            <a:ext cx="4959350" cy="234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762000" indent="-762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00" dirty="0">
                <a:solidFill>
                  <a:srgbClr val="000000"/>
                </a:solidFill>
              </a:rPr>
              <a:t>Примечание: </a:t>
            </a:r>
            <a:r>
              <a:rPr lang="ru-RU" sz="600" i="1" dirty="0">
                <a:solidFill>
                  <a:srgbClr val="000000"/>
                </a:solidFill>
              </a:rPr>
              <a:t>	</a:t>
            </a:r>
            <a:r>
              <a:rPr lang="en-US" sz="600" dirty="0">
                <a:solidFill>
                  <a:srgbClr val="000000"/>
                </a:solidFill>
              </a:rPr>
              <a:t>(</a:t>
            </a:r>
            <a:r>
              <a:rPr lang="ru-RU" sz="600" dirty="0">
                <a:solidFill>
                  <a:srgbClr val="000000"/>
                </a:solidFill>
              </a:rPr>
              <a:t>а) из внебюджетных источников</a:t>
            </a:r>
          </a:p>
        </p:txBody>
      </p:sp>
      <p:sp>
        <p:nvSpPr>
          <p:cNvPr id="50" name="Rectangle 49"/>
          <p:cNvSpPr/>
          <p:nvPr/>
        </p:nvSpPr>
        <p:spPr>
          <a:xfrm>
            <a:off x="8288338" y="1757363"/>
            <a:ext cx="1350962" cy="688975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22625" name="Рисунок 53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extBox 52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Прямоугольник 81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Rectangle 20"/>
          <p:cNvSpPr/>
          <p:nvPr/>
        </p:nvSpPr>
        <p:spPr>
          <a:xfrm>
            <a:off x="266700" y="1916113"/>
            <a:ext cx="9344025" cy="315912"/>
          </a:xfrm>
          <a:prstGeom prst="rect">
            <a:avLst/>
          </a:prstGeom>
          <a:solidFill>
            <a:srgbClr val="BF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53645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Большинство регионов создают инфраструктуру для развития сектора МСП благодаря участию в Программе МЭР</a:t>
            </a:r>
            <a:endParaRPr smtClean="0">
              <a:latin typeface="Arial" charset="0"/>
              <a:cs typeface="Arial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257175" y="2227263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57175" y="2535238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257175" y="2792413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57175" y="3141663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7175" y="3714750"/>
            <a:ext cx="9344025" cy="1588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57175" y="3957638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57175" y="4795838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57175" y="4437063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57175" y="5138738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57175" y="6327775"/>
            <a:ext cx="9344025" cy="1588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723900" y="1914525"/>
            <a:ext cx="0" cy="4389438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entagon 15"/>
          <p:cNvSpPr/>
          <p:nvPr>
            <p:custDataLst>
              <p:tags r:id="rId1"/>
            </p:custDataLst>
          </p:nvPr>
        </p:nvSpPr>
        <p:spPr>
          <a:xfrm>
            <a:off x="258763" y="1190625"/>
            <a:ext cx="2924175" cy="655638"/>
          </a:xfrm>
          <a:prstGeom prst="homePlate">
            <a:avLst>
              <a:gd name="adj" fmla="val 25000"/>
            </a:avLst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97989A"/>
              </a:buClr>
              <a:defRPr/>
            </a:pPr>
            <a:r>
              <a:rPr lang="ru-RU" sz="1050" b="1" dirty="0">
                <a:solidFill>
                  <a:srgbClr val="FFFFFF"/>
                </a:solidFill>
                <a:cs typeface="Arial" pitchFamily="34" charset="0"/>
              </a:rPr>
              <a:t>Минэкономразвития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97989A"/>
              </a:buClr>
              <a:defRPr/>
            </a:pPr>
            <a:r>
              <a:rPr lang="ru-RU" sz="1050" i="1" dirty="0">
                <a:solidFill>
                  <a:srgbClr val="FFFFFF"/>
                </a:solidFill>
                <a:cs typeface="Arial" pitchFamily="34" charset="0"/>
              </a:rPr>
              <a:t>Федеральная финансовая программа поддержки МСП</a:t>
            </a:r>
          </a:p>
        </p:txBody>
      </p:sp>
      <p:sp>
        <p:nvSpPr>
          <p:cNvPr id="17" name="Pentagon 16"/>
          <p:cNvSpPr/>
          <p:nvPr>
            <p:custDataLst>
              <p:tags r:id="rId2"/>
            </p:custDataLst>
          </p:nvPr>
        </p:nvSpPr>
        <p:spPr>
          <a:xfrm>
            <a:off x="6716713" y="1190625"/>
            <a:ext cx="2924175" cy="655638"/>
          </a:xfrm>
          <a:prstGeom prst="homePlate">
            <a:avLst>
              <a:gd name="adj" fmla="val 25000"/>
            </a:avLst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2012 – </a:t>
            </a:r>
            <a:r>
              <a:rPr lang="en-US" sz="1000" dirty="0">
                <a:solidFill>
                  <a:srgbClr val="FFFFFF"/>
                </a:solidFill>
              </a:rPr>
              <a:t>20,</a:t>
            </a:r>
            <a:r>
              <a:rPr lang="ru-RU" sz="1000" dirty="0">
                <a:solidFill>
                  <a:srgbClr val="FFFFFF"/>
                </a:solidFill>
              </a:rPr>
              <a:t>8</a:t>
            </a:r>
            <a:r>
              <a:rPr lang="en-US" sz="1000" dirty="0">
                <a:solidFill>
                  <a:srgbClr val="FFFFFF"/>
                </a:solidFill>
              </a:rPr>
              <a:t>0</a:t>
            </a:r>
            <a:r>
              <a:rPr lang="ru-RU" sz="1000" dirty="0">
                <a:solidFill>
                  <a:srgbClr val="FFFFFF"/>
                </a:solidFill>
              </a:rPr>
              <a:t> млрд руб. </a:t>
            </a:r>
            <a:endParaRPr lang="en-US" sz="1000" dirty="0">
              <a:solidFill>
                <a:srgbClr val="FFFF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</a:rPr>
              <a:t>2013</a:t>
            </a:r>
            <a:r>
              <a:rPr lang="ru-RU" sz="1000" dirty="0">
                <a:solidFill>
                  <a:srgbClr val="FFFFFF"/>
                </a:solidFill>
              </a:rPr>
              <a:t> – </a:t>
            </a:r>
            <a:r>
              <a:rPr lang="en-US" sz="1000" dirty="0">
                <a:solidFill>
                  <a:srgbClr val="FFFFFF"/>
                </a:solidFill>
              </a:rPr>
              <a:t>19</a:t>
            </a:r>
            <a:r>
              <a:rPr lang="ru-RU" sz="1000" dirty="0">
                <a:solidFill>
                  <a:srgbClr val="FFFFFF"/>
                </a:solidFill>
              </a:rPr>
              <a:t>,</a:t>
            </a:r>
            <a:r>
              <a:rPr lang="en-US" sz="1000" dirty="0">
                <a:solidFill>
                  <a:srgbClr val="FFFFFF"/>
                </a:solidFill>
              </a:rPr>
              <a:t>82</a:t>
            </a:r>
            <a:r>
              <a:rPr lang="ru-RU" sz="1000" dirty="0">
                <a:solidFill>
                  <a:srgbClr val="FFFFFF"/>
                </a:solidFill>
              </a:rPr>
              <a:t> млрд руб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2014 – 2</a:t>
            </a:r>
            <a:r>
              <a:rPr lang="en-US" sz="1000" dirty="0">
                <a:solidFill>
                  <a:srgbClr val="FFFFFF"/>
                </a:solidFill>
              </a:rPr>
              <a:t>1</a:t>
            </a:r>
            <a:r>
              <a:rPr lang="ru-RU" sz="1000" dirty="0">
                <a:solidFill>
                  <a:srgbClr val="FFFFFF"/>
                </a:solidFill>
              </a:rPr>
              <a:t>,</a:t>
            </a:r>
            <a:r>
              <a:rPr lang="en-US" sz="1000" dirty="0">
                <a:solidFill>
                  <a:srgbClr val="FFFFFF"/>
                </a:solidFill>
              </a:rPr>
              <a:t>5</a:t>
            </a:r>
            <a:r>
              <a:rPr lang="ru-RU" sz="1000" dirty="0">
                <a:solidFill>
                  <a:srgbClr val="FFFFFF"/>
                </a:solidFill>
              </a:rPr>
              <a:t>0 млрд руб.</a:t>
            </a:r>
          </a:p>
        </p:txBody>
      </p:sp>
      <p:sp>
        <p:nvSpPr>
          <p:cNvPr id="18" name="Pentagon 17"/>
          <p:cNvSpPr/>
          <p:nvPr>
            <p:custDataLst>
              <p:tags r:id="rId3"/>
            </p:custDataLst>
          </p:nvPr>
        </p:nvSpPr>
        <p:spPr>
          <a:xfrm>
            <a:off x="3487738" y="1190625"/>
            <a:ext cx="2924175" cy="655638"/>
          </a:xfrm>
          <a:prstGeom prst="homePlate">
            <a:avLst>
              <a:gd name="adj" fmla="val 25000"/>
            </a:avLst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&gt;246 тыс. юридических и физических лиц получили поддержк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&gt;134 тыс. рабочих мест создано</a:t>
            </a:r>
            <a:endParaRPr lang="en-US" sz="1000" dirty="0">
              <a:solidFill>
                <a:srgbClr val="FFFFFF"/>
              </a:solidFill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5243513" y="1925638"/>
            <a:ext cx="0" cy="438943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610725" y="1960563"/>
            <a:ext cx="0" cy="438943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57175" y="1905000"/>
            <a:ext cx="9344025" cy="1588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66700" y="1916113"/>
            <a:ext cx="0" cy="438943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8162925" y="1925638"/>
            <a:ext cx="0" cy="438943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6471" name="TextBox 27"/>
          <p:cNvSpPr txBox="1">
            <a:spLocks noChangeArrowheads="1"/>
          </p:cNvSpPr>
          <p:nvPr/>
        </p:nvSpPr>
        <p:spPr bwMode="auto">
          <a:xfrm>
            <a:off x="2136775" y="1873250"/>
            <a:ext cx="1266825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Механизмы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2" name="TextBox 28"/>
          <p:cNvSpPr txBox="1">
            <a:spLocks noChangeArrowheads="1"/>
          </p:cNvSpPr>
          <p:nvPr/>
        </p:nvSpPr>
        <p:spPr bwMode="auto">
          <a:xfrm>
            <a:off x="6010275" y="1873250"/>
            <a:ext cx="161766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Масштаб программы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3" name="TextBox 29"/>
          <p:cNvSpPr txBox="1">
            <a:spLocks noChangeArrowheads="1"/>
          </p:cNvSpPr>
          <p:nvPr/>
        </p:nvSpPr>
        <p:spPr bwMode="auto">
          <a:xfrm>
            <a:off x="339725" y="1873250"/>
            <a:ext cx="365125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№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4" name="TextBox 30"/>
          <p:cNvSpPr txBox="1">
            <a:spLocks noChangeArrowheads="1"/>
          </p:cNvSpPr>
          <p:nvPr/>
        </p:nvSpPr>
        <p:spPr bwMode="auto">
          <a:xfrm>
            <a:off x="8064500" y="1820863"/>
            <a:ext cx="16002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Затраты в 201</a:t>
            </a:r>
            <a:r>
              <a:rPr lang="en-US" sz="1000">
                <a:solidFill>
                  <a:srgbClr val="000000"/>
                </a:solidFill>
              </a:rPr>
              <a:t>3</a:t>
            </a:r>
            <a:r>
              <a:rPr lang="ru-RU" sz="1000">
                <a:solidFill>
                  <a:srgbClr val="000000"/>
                </a:solidFill>
              </a:rPr>
              <a:t> г.</a:t>
            </a:r>
          </a:p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(% от лимита)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5" name="TextBox 31"/>
          <p:cNvSpPr txBox="1">
            <a:spLocks noChangeArrowheads="1"/>
          </p:cNvSpPr>
          <p:nvPr/>
        </p:nvSpPr>
        <p:spPr bwMode="auto">
          <a:xfrm>
            <a:off x="331788" y="2276475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6" name="TextBox 32"/>
          <p:cNvSpPr txBox="1">
            <a:spLocks noChangeArrowheads="1"/>
          </p:cNvSpPr>
          <p:nvPr/>
        </p:nvSpPr>
        <p:spPr bwMode="auto">
          <a:xfrm>
            <a:off x="331788" y="2540000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2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7" name="TextBox 33"/>
          <p:cNvSpPr txBox="1">
            <a:spLocks noChangeArrowheads="1"/>
          </p:cNvSpPr>
          <p:nvPr/>
        </p:nvSpPr>
        <p:spPr bwMode="auto">
          <a:xfrm>
            <a:off x="331788" y="2825750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3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8" name="TextBox 34"/>
          <p:cNvSpPr txBox="1">
            <a:spLocks noChangeArrowheads="1"/>
          </p:cNvSpPr>
          <p:nvPr/>
        </p:nvSpPr>
        <p:spPr bwMode="auto">
          <a:xfrm>
            <a:off x="331788" y="3168650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4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79" name="TextBox 37"/>
          <p:cNvSpPr txBox="1">
            <a:spLocks noChangeArrowheads="1"/>
          </p:cNvSpPr>
          <p:nvPr/>
        </p:nvSpPr>
        <p:spPr bwMode="auto">
          <a:xfrm>
            <a:off x="331788" y="4056063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7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80" name="TextBox 38"/>
          <p:cNvSpPr txBox="1">
            <a:spLocks noChangeArrowheads="1"/>
          </p:cNvSpPr>
          <p:nvPr/>
        </p:nvSpPr>
        <p:spPr bwMode="auto">
          <a:xfrm>
            <a:off x="331788" y="4486275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8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81" name="TextBox 39"/>
          <p:cNvSpPr txBox="1">
            <a:spLocks noChangeArrowheads="1"/>
          </p:cNvSpPr>
          <p:nvPr/>
        </p:nvSpPr>
        <p:spPr bwMode="auto">
          <a:xfrm>
            <a:off x="331788" y="4851400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9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82" name="TextBox 40"/>
          <p:cNvSpPr txBox="1">
            <a:spLocks noChangeArrowheads="1"/>
          </p:cNvSpPr>
          <p:nvPr/>
        </p:nvSpPr>
        <p:spPr bwMode="auto">
          <a:xfrm>
            <a:off x="331788" y="5176838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0</a:t>
            </a:r>
            <a:endParaRPr lang="en-US" sz="1000">
              <a:solidFill>
                <a:srgbClr val="000000"/>
              </a:solidFill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257175" y="3424238"/>
            <a:ext cx="9344025" cy="1587"/>
          </a:xfrm>
          <a:prstGeom prst="line">
            <a:avLst/>
          </a:prstGeom>
          <a:ln w="3175">
            <a:solidFill>
              <a:srgbClr val="97989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/>
          <p:nvPr/>
        </p:nvSpPr>
        <p:spPr>
          <a:xfrm>
            <a:off x="5299075" y="2228850"/>
            <a:ext cx="4273550" cy="1744663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536485" name="TextBox 108"/>
          <p:cNvSpPr txBox="1">
            <a:spLocks noChangeArrowheads="1"/>
          </p:cNvSpPr>
          <p:nvPr/>
        </p:nvSpPr>
        <p:spPr bwMode="auto">
          <a:xfrm>
            <a:off x="803275" y="2228850"/>
            <a:ext cx="4516438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Поддержка лизинга малых компаний </a:t>
            </a:r>
          </a:p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Модернизация производства </a:t>
            </a:r>
            <a:endParaRPr lang="ru-RU" sz="1000" i="1">
              <a:solidFill>
                <a:srgbClr val="000000"/>
              </a:solidFill>
            </a:endParaRPr>
          </a:p>
        </p:txBody>
      </p:sp>
      <p:sp>
        <p:nvSpPr>
          <p:cNvPr id="2536486" name="TextBox 109"/>
          <p:cNvSpPr txBox="1">
            <a:spLocks noChangeArrowheads="1"/>
          </p:cNvSpPr>
          <p:nvPr/>
        </p:nvSpPr>
        <p:spPr bwMode="auto">
          <a:xfrm>
            <a:off x="8683625" y="2246313"/>
            <a:ext cx="379413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2</a:t>
            </a:r>
            <a:r>
              <a:rPr lang="en-US" sz="1000">
                <a:solidFill>
                  <a:srgbClr val="000000"/>
                </a:solidFill>
              </a:rPr>
              <a:t>7</a:t>
            </a:r>
            <a:r>
              <a:rPr lang="ru-RU" sz="1000">
                <a:solidFill>
                  <a:srgbClr val="000000"/>
                </a:solidFill>
              </a:rPr>
              <a:t>,</a:t>
            </a:r>
            <a:r>
              <a:rPr lang="en-US" sz="100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2536487" name="TextBox 110"/>
          <p:cNvSpPr txBox="1">
            <a:spLocks noChangeArrowheads="1"/>
          </p:cNvSpPr>
          <p:nvPr/>
        </p:nvSpPr>
        <p:spPr bwMode="auto">
          <a:xfrm>
            <a:off x="5326063" y="2228850"/>
            <a:ext cx="2651125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-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88" name="TextBox 111"/>
          <p:cNvSpPr txBox="1">
            <a:spLocks noChangeArrowheads="1"/>
          </p:cNvSpPr>
          <p:nvPr/>
        </p:nvSpPr>
        <p:spPr bwMode="auto">
          <a:xfrm>
            <a:off x="803275" y="2562225"/>
            <a:ext cx="4516438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Содействие малым инновационным компаниям</a:t>
            </a:r>
          </a:p>
        </p:txBody>
      </p:sp>
      <p:sp>
        <p:nvSpPr>
          <p:cNvPr id="2536489" name="TextBox 112"/>
          <p:cNvSpPr txBox="1">
            <a:spLocks noChangeArrowheads="1"/>
          </p:cNvSpPr>
          <p:nvPr/>
        </p:nvSpPr>
        <p:spPr bwMode="auto">
          <a:xfrm>
            <a:off x="8683625" y="2541588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/>
              <a:t>1</a:t>
            </a:r>
            <a:r>
              <a:rPr lang="en-US" sz="1000"/>
              <a:t>8</a:t>
            </a:r>
            <a:r>
              <a:rPr lang="ru-RU" sz="1000"/>
              <a:t>,</a:t>
            </a:r>
            <a:r>
              <a:rPr lang="en-US" sz="1000"/>
              <a:t>3</a:t>
            </a:r>
          </a:p>
        </p:txBody>
      </p:sp>
      <p:sp>
        <p:nvSpPr>
          <p:cNvPr id="2536490" name="TextBox 113"/>
          <p:cNvSpPr txBox="1">
            <a:spLocks noChangeArrowheads="1"/>
          </p:cNvSpPr>
          <p:nvPr/>
        </p:nvSpPr>
        <p:spPr bwMode="auto">
          <a:xfrm>
            <a:off x="5326063" y="2522538"/>
            <a:ext cx="26511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-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91" name="TextBox 114"/>
          <p:cNvSpPr txBox="1">
            <a:spLocks noChangeArrowheads="1"/>
          </p:cNvSpPr>
          <p:nvPr/>
        </p:nvSpPr>
        <p:spPr bwMode="auto">
          <a:xfrm>
            <a:off x="803275" y="2847975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Поддержка муниципальных программ, в том числе поддержка многопрофильных муниципальных образований (моногорода) </a:t>
            </a:r>
          </a:p>
        </p:txBody>
      </p:sp>
      <p:sp>
        <p:nvSpPr>
          <p:cNvPr id="2536492" name="TextBox 115"/>
          <p:cNvSpPr txBox="1">
            <a:spLocks noChangeArrowheads="1"/>
          </p:cNvSpPr>
          <p:nvPr/>
        </p:nvSpPr>
        <p:spPr bwMode="auto">
          <a:xfrm>
            <a:off x="5326063" y="2867025"/>
            <a:ext cx="26511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7 регионов</a:t>
            </a:r>
            <a:endParaRPr lang="en-US" sz="1000"/>
          </a:p>
        </p:txBody>
      </p:sp>
      <p:sp>
        <p:nvSpPr>
          <p:cNvPr id="2536493" name="TextBox 116"/>
          <p:cNvSpPr txBox="1">
            <a:spLocks noChangeArrowheads="1"/>
          </p:cNvSpPr>
          <p:nvPr/>
        </p:nvSpPr>
        <p:spPr bwMode="auto">
          <a:xfrm>
            <a:off x="8683625" y="2878138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</a:t>
            </a:r>
            <a:r>
              <a:rPr lang="en-US" sz="1000">
                <a:solidFill>
                  <a:srgbClr val="000000"/>
                </a:solidFill>
              </a:rPr>
              <a:t>2</a:t>
            </a:r>
            <a:r>
              <a:rPr lang="ru-RU" sz="1000">
                <a:solidFill>
                  <a:srgbClr val="000000"/>
                </a:solidFill>
              </a:rPr>
              <a:t>,</a:t>
            </a:r>
            <a:r>
              <a:rPr lang="en-US" sz="1000">
                <a:solidFill>
                  <a:srgbClr val="000000"/>
                </a:solidFill>
              </a:rPr>
              <a:t>6</a:t>
            </a:r>
          </a:p>
        </p:txBody>
      </p:sp>
      <p:sp>
        <p:nvSpPr>
          <p:cNvPr id="2536494" name="TextBox 117"/>
          <p:cNvSpPr txBox="1">
            <a:spLocks noChangeArrowheads="1"/>
          </p:cNvSpPr>
          <p:nvPr/>
        </p:nvSpPr>
        <p:spPr bwMode="auto">
          <a:xfrm>
            <a:off x="803275" y="3176588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Создание микрофинансовых организаций </a:t>
            </a:r>
          </a:p>
        </p:txBody>
      </p:sp>
      <p:sp>
        <p:nvSpPr>
          <p:cNvPr id="2536495" name="TextBox 118"/>
          <p:cNvSpPr txBox="1">
            <a:spLocks noChangeArrowheads="1"/>
          </p:cNvSpPr>
          <p:nvPr/>
        </p:nvSpPr>
        <p:spPr bwMode="auto">
          <a:xfrm>
            <a:off x="5326063" y="3176588"/>
            <a:ext cx="26511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Микрофинансовые фонды в 75 регионах</a:t>
            </a:r>
            <a:endParaRPr lang="en-US" sz="1000"/>
          </a:p>
        </p:txBody>
      </p:sp>
      <p:sp>
        <p:nvSpPr>
          <p:cNvPr id="2536496" name="TextBox 119"/>
          <p:cNvSpPr txBox="1">
            <a:spLocks noChangeArrowheads="1"/>
          </p:cNvSpPr>
          <p:nvPr/>
        </p:nvSpPr>
        <p:spPr bwMode="auto">
          <a:xfrm>
            <a:off x="8683625" y="3187700"/>
            <a:ext cx="3794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</a:t>
            </a:r>
            <a:r>
              <a:rPr lang="en-US" sz="1000">
                <a:solidFill>
                  <a:srgbClr val="000000"/>
                </a:solidFill>
              </a:rPr>
              <a:t>2,1</a:t>
            </a:r>
          </a:p>
        </p:txBody>
      </p:sp>
      <p:sp>
        <p:nvSpPr>
          <p:cNvPr id="2536497" name="TextBox 63"/>
          <p:cNvSpPr txBox="1">
            <a:spLocks noChangeArrowheads="1"/>
          </p:cNvSpPr>
          <p:nvPr/>
        </p:nvSpPr>
        <p:spPr bwMode="auto">
          <a:xfrm>
            <a:off x="322263" y="5770563"/>
            <a:ext cx="3810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498" name="TextBox 120"/>
          <p:cNvSpPr txBox="1">
            <a:spLocks noChangeArrowheads="1"/>
          </p:cNvSpPr>
          <p:nvPr/>
        </p:nvSpPr>
        <p:spPr bwMode="auto">
          <a:xfrm>
            <a:off x="822325" y="5767388"/>
            <a:ext cx="45180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Создание и развитие инфраструктуры поддержки субъектов малого предпринимательства</a:t>
            </a:r>
          </a:p>
        </p:txBody>
      </p:sp>
      <p:sp>
        <p:nvSpPr>
          <p:cNvPr id="2536499" name="TextBox 121"/>
          <p:cNvSpPr txBox="1">
            <a:spLocks noChangeArrowheads="1"/>
          </p:cNvSpPr>
          <p:nvPr/>
        </p:nvSpPr>
        <p:spPr bwMode="auto">
          <a:xfrm>
            <a:off x="5326063" y="5791200"/>
            <a:ext cx="26511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lvl="1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132 бизнес-инкубатора</a:t>
            </a:r>
          </a:p>
          <a:p>
            <a:pPr marL="190500" lvl="3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4 промышленных парка и 2 технопарка</a:t>
            </a:r>
          </a:p>
        </p:txBody>
      </p:sp>
      <p:sp>
        <p:nvSpPr>
          <p:cNvPr id="2536500" name="TextBox 122"/>
          <p:cNvSpPr txBox="1">
            <a:spLocks noChangeArrowheads="1"/>
          </p:cNvSpPr>
          <p:nvPr/>
        </p:nvSpPr>
        <p:spPr bwMode="auto">
          <a:xfrm>
            <a:off x="8683625" y="5791200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0</a:t>
            </a:r>
            <a:r>
              <a:rPr lang="en-US" sz="10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536501" name="TextBox 35"/>
          <p:cNvSpPr txBox="1">
            <a:spLocks noChangeArrowheads="1"/>
          </p:cNvSpPr>
          <p:nvPr/>
        </p:nvSpPr>
        <p:spPr bwMode="auto">
          <a:xfrm>
            <a:off x="331788" y="3444875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5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502" name="TextBox 123"/>
          <p:cNvSpPr txBox="1">
            <a:spLocks noChangeArrowheads="1"/>
          </p:cNvSpPr>
          <p:nvPr/>
        </p:nvSpPr>
        <p:spPr bwMode="auto">
          <a:xfrm>
            <a:off x="803275" y="3444875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Создание гарантийных фондов </a:t>
            </a:r>
            <a:endParaRPr lang="ru-RU" sz="1000" i="1">
              <a:solidFill>
                <a:srgbClr val="000000"/>
              </a:solidFill>
            </a:endParaRPr>
          </a:p>
        </p:txBody>
      </p:sp>
      <p:sp>
        <p:nvSpPr>
          <p:cNvPr id="2536503" name="TextBox 124"/>
          <p:cNvSpPr txBox="1">
            <a:spLocks noChangeArrowheads="1"/>
          </p:cNvSpPr>
          <p:nvPr/>
        </p:nvSpPr>
        <p:spPr bwMode="auto">
          <a:xfrm>
            <a:off x="5340350" y="3444875"/>
            <a:ext cx="2651125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Гарантийные фонды в 81 регионе</a:t>
            </a:r>
          </a:p>
        </p:txBody>
      </p:sp>
      <p:sp>
        <p:nvSpPr>
          <p:cNvPr id="2536504" name="TextBox 125"/>
          <p:cNvSpPr txBox="1">
            <a:spLocks noChangeArrowheads="1"/>
          </p:cNvSpPr>
          <p:nvPr/>
        </p:nvSpPr>
        <p:spPr bwMode="auto">
          <a:xfrm>
            <a:off x="8683625" y="3444875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</a:t>
            </a:r>
            <a:r>
              <a:rPr lang="en-US" sz="1000">
                <a:solidFill>
                  <a:srgbClr val="000000"/>
                </a:solidFill>
              </a:rPr>
              <a:t>1</a:t>
            </a:r>
            <a:r>
              <a:rPr lang="ru-RU" sz="1000">
                <a:solidFill>
                  <a:srgbClr val="000000"/>
                </a:solidFill>
              </a:rPr>
              <a:t>,4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505" name="TextBox 36"/>
          <p:cNvSpPr txBox="1">
            <a:spLocks noChangeArrowheads="1"/>
          </p:cNvSpPr>
          <p:nvPr/>
        </p:nvSpPr>
        <p:spPr bwMode="auto">
          <a:xfrm>
            <a:off x="331788" y="3722688"/>
            <a:ext cx="3794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6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506" name="TextBox 126"/>
          <p:cNvSpPr txBox="1">
            <a:spLocks noChangeArrowheads="1"/>
          </p:cNvSpPr>
          <p:nvPr/>
        </p:nvSpPr>
        <p:spPr bwMode="auto">
          <a:xfrm>
            <a:off x="803275" y="3722688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Грантовая поддержка начинающих </a:t>
            </a:r>
            <a:endParaRPr lang="ru-RU" sz="1000" i="1">
              <a:solidFill>
                <a:srgbClr val="000000"/>
              </a:solidFill>
            </a:endParaRPr>
          </a:p>
        </p:txBody>
      </p:sp>
      <p:sp>
        <p:nvSpPr>
          <p:cNvPr id="2536507" name="TextBox 127"/>
          <p:cNvSpPr txBox="1">
            <a:spLocks noChangeArrowheads="1"/>
          </p:cNvSpPr>
          <p:nvPr/>
        </p:nvSpPr>
        <p:spPr bwMode="auto">
          <a:xfrm>
            <a:off x="5326063" y="3732213"/>
            <a:ext cx="265112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30 регионов</a:t>
            </a:r>
          </a:p>
        </p:txBody>
      </p:sp>
      <p:sp>
        <p:nvSpPr>
          <p:cNvPr id="2536508" name="TextBox 128"/>
          <p:cNvSpPr txBox="1">
            <a:spLocks noChangeArrowheads="1"/>
          </p:cNvSpPr>
          <p:nvPr/>
        </p:nvSpPr>
        <p:spPr bwMode="auto">
          <a:xfrm>
            <a:off x="8683625" y="3722688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en-US" sz="1000">
                <a:solidFill>
                  <a:srgbClr val="000000"/>
                </a:solidFill>
              </a:rPr>
              <a:t>7</a:t>
            </a:r>
            <a:r>
              <a:rPr lang="ru-RU" sz="1000">
                <a:solidFill>
                  <a:srgbClr val="000000"/>
                </a:solidFill>
              </a:rPr>
              <a:t>,</a:t>
            </a:r>
            <a:r>
              <a:rPr lang="en-US" sz="100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2536509" name="TextBox 129"/>
          <p:cNvSpPr txBox="1">
            <a:spLocks noChangeArrowheads="1"/>
          </p:cNvSpPr>
          <p:nvPr/>
        </p:nvSpPr>
        <p:spPr bwMode="auto">
          <a:xfrm>
            <a:off x="803275" y="3979863"/>
            <a:ext cx="4516438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Иное (мероприятия по энергоэффективности, техприсоединению, консультации</a:t>
            </a:r>
            <a:r>
              <a:rPr lang="ru-RU" sz="1000" i="1">
                <a:solidFill>
                  <a:srgbClr val="000000"/>
                </a:solidFill>
              </a:rPr>
              <a:t>, </a:t>
            </a:r>
            <a:r>
              <a:rPr lang="ru-RU" sz="1000">
                <a:solidFill>
                  <a:srgbClr val="000000"/>
                </a:solidFill>
              </a:rPr>
              <a:t>народно-художественные промыслы, поддержка социального предпринимательства, создание частных детских садов)</a:t>
            </a:r>
          </a:p>
        </p:txBody>
      </p:sp>
      <p:sp>
        <p:nvSpPr>
          <p:cNvPr id="2536510" name="TextBox 130"/>
          <p:cNvSpPr txBox="1">
            <a:spLocks noChangeArrowheads="1"/>
          </p:cNvSpPr>
          <p:nvPr/>
        </p:nvSpPr>
        <p:spPr bwMode="auto">
          <a:xfrm>
            <a:off x="5326063" y="4114800"/>
            <a:ext cx="26511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-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511" name="TextBox 131"/>
          <p:cNvSpPr txBox="1">
            <a:spLocks noChangeArrowheads="1"/>
          </p:cNvSpPr>
          <p:nvPr/>
        </p:nvSpPr>
        <p:spPr bwMode="auto">
          <a:xfrm>
            <a:off x="8683625" y="4056063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en-US" sz="1000"/>
              <a:t>6</a:t>
            </a:r>
            <a:r>
              <a:rPr lang="ru-RU" sz="1000"/>
              <a:t>,</a:t>
            </a:r>
            <a:r>
              <a:rPr lang="en-US" sz="1000"/>
              <a:t>3</a:t>
            </a:r>
          </a:p>
        </p:txBody>
      </p:sp>
      <p:sp>
        <p:nvSpPr>
          <p:cNvPr id="2536512" name="TextBox 132"/>
          <p:cNvSpPr txBox="1">
            <a:spLocks noChangeArrowheads="1"/>
          </p:cNvSpPr>
          <p:nvPr/>
        </p:nvSpPr>
        <p:spPr bwMode="auto">
          <a:xfrm>
            <a:off x="803275" y="4486275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Развитие молодёжного предпринимательства, в том числе создание центров молодёжного инновационного творчества </a:t>
            </a:r>
            <a:endParaRPr lang="ru-RU" sz="1000" i="1">
              <a:solidFill>
                <a:srgbClr val="000000"/>
              </a:solidFill>
            </a:endParaRPr>
          </a:p>
        </p:txBody>
      </p:sp>
      <p:sp>
        <p:nvSpPr>
          <p:cNvPr id="2536513" name="TextBox 133"/>
          <p:cNvSpPr txBox="1">
            <a:spLocks noChangeArrowheads="1"/>
          </p:cNvSpPr>
          <p:nvPr/>
        </p:nvSpPr>
        <p:spPr bwMode="auto">
          <a:xfrm>
            <a:off x="5326063" y="4486275"/>
            <a:ext cx="26511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4 региона</a:t>
            </a:r>
          </a:p>
        </p:txBody>
      </p:sp>
      <p:sp>
        <p:nvSpPr>
          <p:cNvPr id="2536514" name="TextBox 134"/>
          <p:cNvSpPr txBox="1">
            <a:spLocks noChangeArrowheads="1"/>
          </p:cNvSpPr>
          <p:nvPr/>
        </p:nvSpPr>
        <p:spPr bwMode="auto">
          <a:xfrm>
            <a:off x="8683625" y="4486275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en-US" sz="1000">
                <a:solidFill>
                  <a:srgbClr val="000000"/>
                </a:solidFill>
              </a:rPr>
              <a:t>2</a:t>
            </a:r>
            <a:r>
              <a:rPr lang="ru-RU" sz="1000">
                <a:solidFill>
                  <a:srgbClr val="000000"/>
                </a:solidFill>
              </a:rPr>
              <a:t>,</a:t>
            </a:r>
            <a:r>
              <a:rPr lang="en-US" sz="10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536515" name="TextBox 135"/>
          <p:cNvSpPr txBox="1">
            <a:spLocks noChangeArrowheads="1"/>
          </p:cNvSpPr>
          <p:nvPr/>
        </p:nvSpPr>
        <p:spPr bwMode="auto">
          <a:xfrm>
            <a:off x="803275" y="4851400"/>
            <a:ext cx="451643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Поддержка экспортно-ориентированных малых компаний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36516" name="TextBox 136"/>
          <p:cNvSpPr txBox="1">
            <a:spLocks noChangeArrowheads="1"/>
          </p:cNvSpPr>
          <p:nvPr/>
        </p:nvSpPr>
        <p:spPr bwMode="auto">
          <a:xfrm>
            <a:off x="5326063" y="4859338"/>
            <a:ext cx="3014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37 Центров поддержки экспорта</a:t>
            </a:r>
          </a:p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46 Евро Инфо и Консультационных Центров</a:t>
            </a:r>
          </a:p>
        </p:txBody>
      </p:sp>
      <p:sp>
        <p:nvSpPr>
          <p:cNvPr id="2536517" name="TextBox 137"/>
          <p:cNvSpPr txBox="1">
            <a:spLocks noChangeArrowheads="1"/>
          </p:cNvSpPr>
          <p:nvPr/>
        </p:nvSpPr>
        <p:spPr bwMode="auto">
          <a:xfrm>
            <a:off x="8683625" y="4851400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1,</a:t>
            </a:r>
            <a:r>
              <a:rPr lang="en-US" sz="1000">
                <a:solidFill>
                  <a:srgbClr val="000000"/>
                </a:solidFill>
              </a:rPr>
              <a:t>6</a:t>
            </a:r>
          </a:p>
        </p:txBody>
      </p:sp>
      <p:sp>
        <p:nvSpPr>
          <p:cNvPr id="2536518" name="TextBox 138"/>
          <p:cNvSpPr txBox="1">
            <a:spLocks noChangeArrowheads="1"/>
          </p:cNvSpPr>
          <p:nvPr/>
        </p:nvSpPr>
        <p:spPr bwMode="auto">
          <a:xfrm>
            <a:off x="803275" y="5154613"/>
            <a:ext cx="451643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>
                <a:solidFill>
                  <a:srgbClr val="000000"/>
                </a:solidFill>
              </a:rPr>
              <a:t>Развитие системы подготовки, переподготовки и повышения квалификации кадров для сферы малого предпринимательства </a:t>
            </a:r>
            <a:endParaRPr lang="ru-RU" sz="1000" i="1">
              <a:solidFill>
                <a:srgbClr val="000000"/>
              </a:solidFill>
            </a:endParaRPr>
          </a:p>
        </p:txBody>
      </p:sp>
      <p:sp>
        <p:nvSpPr>
          <p:cNvPr id="2536519" name="TextBox 139"/>
          <p:cNvSpPr txBox="1">
            <a:spLocks noChangeArrowheads="1"/>
          </p:cNvSpPr>
          <p:nvPr/>
        </p:nvSpPr>
        <p:spPr bwMode="auto">
          <a:xfrm>
            <a:off x="5326063" y="5173663"/>
            <a:ext cx="26511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90500" indent="-190500">
              <a:buClr>
                <a:srgbClr val="97989A"/>
              </a:buClr>
              <a:buFontTx/>
              <a:buChar char="■"/>
            </a:pPr>
            <a:r>
              <a:rPr lang="ru-RU" sz="1000"/>
              <a:t>10 регионов</a:t>
            </a:r>
          </a:p>
        </p:txBody>
      </p:sp>
      <p:sp>
        <p:nvSpPr>
          <p:cNvPr id="2536520" name="TextBox 140"/>
          <p:cNvSpPr txBox="1">
            <a:spLocks noChangeArrowheads="1"/>
          </p:cNvSpPr>
          <p:nvPr/>
        </p:nvSpPr>
        <p:spPr bwMode="auto">
          <a:xfrm>
            <a:off x="8683625" y="5184775"/>
            <a:ext cx="379413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buClr>
                <a:srgbClr val="97989A"/>
              </a:buClr>
            </a:pPr>
            <a:r>
              <a:rPr lang="ru-RU" sz="1000">
                <a:solidFill>
                  <a:srgbClr val="000000"/>
                </a:solidFill>
              </a:rPr>
              <a:t>0,</a:t>
            </a:r>
            <a:r>
              <a:rPr lang="en-US" sz="1000">
                <a:solidFill>
                  <a:srgbClr val="000000"/>
                </a:solidFill>
              </a:rPr>
              <a:t>8</a:t>
            </a:r>
          </a:p>
        </p:txBody>
      </p:sp>
      <p:sp>
        <p:nvSpPr>
          <p:cNvPr id="42" name="Rectangle 41"/>
          <p:cNvSpPr/>
          <p:nvPr/>
        </p:nvSpPr>
        <p:spPr>
          <a:xfrm rot="16200000">
            <a:off x="-1454944" y="3975894"/>
            <a:ext cx="3236913" cy="193675"/>
          </a:xfrm>
          <a:prstGeom prst="rect">
            <a:avLst/>
          </a:prstGeom>
          <a:solidFill>
            <a:srgbClr val="409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FFFFFF"/>
                </a:solidFill>
              </a:rPr>
              <a:t>Субсидии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 rot="16200000">
            <a:off x="-158750" y="5916613"/>
            <a:ext cx="644525" cy="193675"/>
          </a:xfrm>
          <a:prstGeom prst="rect">
            <a:avLst/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 err="1">
                <a:solidFill>
                  <a:srgbClr val="FFFFFF"/>
                </a:solidFill>
              </a:rPr>
              <a:t>Инфр-ра</a:t>
            </a:r>
            <a:endParaRPr lang="en-US" sz="800" dirty="0">
              <a:solidFill>
                <a:srgbClr val="FFFFFF"/>
              </a:solidFill>
            </a:endParaRPr>
          </a:p>
        </p:txBody>
      </p:sp>
      <p:grpSp>
        <p:nvGrpSpPr>
          <p:cNvPr id="2536523" name="Group 44"/>
          <p:cNvGrpSpPr>
            <a:grpSpLocks/>
          </p:cNvGrpSpPr>
          <p:nvPr/>
        </p:nvGrpSpPr>
        <p:grpSpPr bwMode="auto">
          <a:xfrm>
            <a:off x="260350" y="5429250"/>
            <a:ext cx="9494838" cy="261938"/>
            <a:chOff x="260172" y="5428926"/>
            <a:chExt cx="9495415" cy="261784"/>
          </a:xfrm>
        </p:grpSpPr>
        <p:sp>
          <p:nvSpPr>
            <p:cNvPr id="43" name="Rectangle 42"/>
            <p:cNvSpPr/>
            <p:nvPr/>
          </p:nvSpPr>
          <p:spPr>
            <a:xfrm>
              <a:off x="260172" y="5428926"/>
              <a:ext cx="9349356" cy="261784"/>
            </a:xfrm>
            <a:prstGeom prst="rect">
              <a:avLst/>
            </a:prstGeom>
            <a:solidFill>
              <a:srgbClr val="BF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36532" name="TextBox 43"/>
            <p:cNvSpPr txBox="1">
              <a:spLocks noChangeArrowheads="1"/>
            </p:cNvSpPr>
            <p:nvPr/>
          </p:nvSpPr>
          <p:spPr bwMode="auto">
            <a:xfrm>
              <a:off x="5685214" y="5474079"/>
              <a:ext cx="407037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ru-RU" sz="1000"/>
                <a:t>ИТОГО: </a:t>
              </a:r>
              <a:r>
                <a:rPr lang="en-US" sz="1000"/>
                <a:t> </a:t>
              </a:r>
              <a:r>
                <a:rPr lang="ru-RU" sz="1000"/>
                <a:t>			</a:t>
              </a:r>
              <a:r>
                <a:rPr lang="en-US" sz="1000"/>
                <a:t>18</a:t>
              </a:r>
              <a:r>
                <a:rPr lang="ru-RU" sz="1000"/>
                <a:t>,2 млрд</a:t>
              </a:r>
              <a:r>
                <a:rPr lang="en-US" sz="1000"/>
                <a:t> </a:t>
              </a:r>
              <a:r>
                <a:rPr lang="ru-RU" sz="1000"/>
                <a:t>руб.</a:t>
              </a:r>
              <a:endParaRPr lang="en-US" sz="1000"/>
            </a:p>
          </p:txBody>
        </p:sp>
      </p:grpSp>
      <p:grpSp>
        <p:nvGrpSpPr>
          <p:cNvPr id="2536524" name="Group 85"/>
          <p:cNvGrpSpPr>
            <a:grpSpLocks/>
          </p:cNvGrpSpPr>
          <p:nvPr/>
        </p:nvGrpSpPr>
        <p:grpSpPr bwMode="auto">
          <a:xfrm>
            <a:off x="260350" y="6073775"/>
            <a:ext cx="9485313" cy="261938"/>
            <a:chOff x="260172" y="5428926"/>
            <a:chExt cx="9485024" cy="261784"/>
          </a:xfrm>
        </p:grpSpPr>
        <p:sp>
          <p:nvSpPr>
            <p:cNvPr id="88" name="Rectangle 87"/>
            <p:cNvSpPr/>
            <p:nvPr/>
          </p:nvSpPr>
          <p:spPr>
            <a:xfrm>
              <a:off x="260172" y="5428926"/>
              <a:ext cx="9350090" cy="261784"/>
            </a:xfrm>
            <a:prstGeom prst="rect">
              <a:avLst/>
            </a:prstGeom>
            <a:solidFill>
              <a:srgbClr val="BF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36530" name="TextBox 88"/>
            <p:cNvSpPr txBox="1">
              <a:spLocks noChangeArrowheads="1"/>
            </p:cNvSpPr>
            <p:nvPr/>
          </p:nvSpPr>
          <p:spPr bwMode="auto">
            <a:xfrm>
              <a:off x="5674823" y="5492783"/>
              <a:ext cx="407037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ru-RU" sz="1000"/>
                <a:t>ИТОГО: </a:t>
              </a:r>
              <a:r>
                <a:rPr lang="en-US" sz="1000"/>
                <a:t> </a:t>
              </a:r>
              <a:r>
                <a:rPr lang="ru-RU" sz="1000"/>
                <a:t>			</a:t>
              </a:r>
              <a:r>
                <a:rPr lang="en-US" sz="1000"/>
                <a:t> 1</a:t>
              </a:r>
              <a:r>
                <a:rPr lang="ru-RU" sz="1000"/>
                <a:t>,8 млрд</a:t>
              </a:r>
              <a:r>
                <a:rPr lang="en-US" sz="1000"/>
                <a:t> </a:t>
              </a:r>
              <a:r>
                <a:rPr lang="ru-RU" sz="1000"/>
                <a:t>руб.</a:t>
              </a:r>
              <a:endParaRPr lang="en-US" sz="1000"/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257175" y="5691188"/>
            <a:ext cx="9344025" cy="1587"/>
          </a:xfrm>
          <a:prstGeom prst="line">
            <a:avLst/>
          </a:prstGeom>
          <a:ln w="19050">
            <a:solidFill>
              <a:srgbClr val="9798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36528" name="Рисунок 89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TextBox 85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Овал 56"/>
          <p:cNvSpPr/>
          <p:nvPr/>
        </p:nvSpPr>
        <p:spPr>
          <a:xfrm>
            <a:off x="3692647" y="3542798"/>
            <a:ext cx="3211926" cy="118334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50800">
              <a:srgbClr val="FF0000">
                <a:alpha val="57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9931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549927" name="Object 3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9933" name="Title 1"/>
          <p:cNvSpPr txBox="1">
            <a:spLocks/>
          </p:cNvSpPr>
          <p:nvPr/>
        </p:nvSpPr>
        <p:spPr bwMode="gray">
          <a:xfrm>
            <a:off x="2289175" y="115888"/>
            <a:ext cx="75438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ru-RU" b="1" dirty="0">
                <a:solidFill>
                  <a:srgbClr val="00338D"/>
                </a:solidFill>
              </a:rPr>
              <a:t>Что есть вокруг фигуры предпринимателя в Иркутской области?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716906" y="1037295"/>
            <a:ext cx="7189094" cy="1990842"/>
          </a:xfrm>
          <a:prstGeom prst="roundRect">
            <a:avLst/>
          </a:prstGeom>
          <a:solidFill>
            <a:srgbClr val="E3A78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67362" y="1472784"/>
            <a:ext cx="1345723" cy="245888"/>
          </a:xfrm>
          <a:prstGeom prst="roundRect">
            <a:avLst/>
          </a:prstGeom>
          <a:solidFill>
            <a:srgbClr val="9E303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rgbClr val="FFFFFF"/>
                </a:solidFill>
                <a:cs typeface="Arial" charset="0"/>
              </a:rPr>
              <a:t>МИНЭК</a:t>
            </a:r>
            <a:r>
              <a:rPr lang="ru-RU" b="1" dirty="0">
                <a:solidFill>
                  <a:srgbClr val="FFFFFF"/>
                </a:solidFill>
                <a:cs typeface="Arial" charset="0"/>
              </a:rPr>
              <a:t> 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21233" y="1812051"/>
            <a:ext cx="2580265" cy="247768"/>
          </a:xfrm>
          <a:prstGeom prst="roundRect">
            <a:avLst/>
          </a:prstGeom>
          <a:solidFill>
            <a:srgbClr val="B6646B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Управление МСП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921233" y="2646301"/>
            <a:ext cx="1725716" cy="261257"/>
          </a:xfrm>
          <a:prstGeom prst="roundRect">
            <a:avLst/>
          </a:prstGeom>
          <a:solidFill>
            <a:srgbClr val="CF98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9E3039"/>
                </a:solidFill>
              </a:rPr>
              <a:t>Гарантийный фонд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503018" y="2218507"/>
            <a:ext cx="1998480" cy="287522"/>
          </a:xfrm>
          <a:prstGeom prst="roundRect">
            <a:avLst/>
          </a:prstGeom>
          <a:solidFill>
            <a:srgbClr val="CF98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9E3039"/>
                </a:solidFill>
                <a:cs typeface="Arial" charset="0"/>
              </a:rPr>
              <a:t>Фонд ЦПП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733095" y="2655647"/>
            <a:ext cx="768403" cy="242048"/>
          </a:xfrm>
          <a:prstGeom prst="roundRect">
            <a:avLst/>
          </a:prstGeom>
          <a:solidFill>
            <a:srgbClr val="CF98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9E3039"/>
                </a:solidFill>
              </a:rPr>
              <a:t>ЦКР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69405" y="4003656"/>
            <a:ext cx="1969913" cy="261257"/>
          </a:xfrm>
          <a:prstGeom prst="roundRect">
            <a:avLst/>
          </a:prstGeom>
          <a:solidFill>
            <a:srgbClr val="CF98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9E3039"/>
                </a:solidFill>
              </a:rPr>
              <a:t>22 МФО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69405" y="1929191"/>
            <a:ext cx="1969913" cy="1907535"/>
          </a:xfrm>
          <a:prstGeom prst="roundRect">
            <a:avLst/>
          </a:prstGeom>
          <a:solidFill>
            <a:srgbClr val="CF989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9E3039"/>
                </a:solidFill>
                <a:cs typeface="Arial" charset="0"/>
              </a:rPr>
              <a:t> Муниципальные  образования Иркутской области, инфраструктура поддержки МСБ</a:t>
            </a:r>
          </a:p>
        </p:txBody>
      </p:sp>
      <p:cxnSp>
        <p:nvCxnSpPr>
          <p:cNvPr id="28" name="Прямая со стрелкой 27"/>
          <p:cNvCxnSpPr>
            <a:stCxn id="0" idx="1"/>
          </p:cNvCxnSpPr>
          <p:nvPr/>
        </p:nvCxnSpPr>
        <p:spPr>
          <a:xfrm flipH="1">
            <a:off x="4646613" y="1595438"/>
            <a:ext cx="220662" cy="209550"/>
          </a:xfrm>
          <a:prstGeom prst="straightConnector1">
            <a:avLst/>
          </a:prstGeom>
          <a:ln>
            <a:solidFill>
              <a:srgbClr val="9E303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endCxn id="0" idx="0"/>
          </p:cNvCxnSpPr>
          <p:nvPr/>
        </p:nvCxnSpPr>
        <p:spPr>
          <a:xfrm>
            <a:off x="5116513" y="2506663"/>
            <a:ext cx="0" cy="149225"/>
          </a:xfrm>
          <a:prstGeom prst="straightConnector1">
            <a:avLst/>
          </a:prstGeom>
          <a:ln>
            <a:solidFill>
              <a:srgbClr val="9E303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3300413" y="2108200"/>
            <a:ext cx="0" cy="538163"/>
          </a:xfrm>
          <a:prstGeom prst="straightConnector1">
            <a:avLst/>
          </a:prstGeom>
          <a:ln>
            <a:solidFill>
              <a:srgbClr val="9E303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139454" y="1086467"/>
            <a:ext cx="4698548" cy="276999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Left"/>
              <a:lightRig rig="threePt" dir="t"/>
            </a:scene3d>
          </a:bodyPr>
          <a:lstStyle/>
          <a:p>
            <a:pPr algn="ctr">
              <a:defRPr/>
            </a:pPr>
            <a:r>
              <a:rPr lang="ru-RU" b="1" dirty="0">
                <a:ln w="0"/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3000" endA="300" endPos="35500" dir="5400000" sy="-90000" algn="bl" rotWithShape="0"/>
                </a:effectLst>
                <a:latin typeface="Arial" pitchFamily="34" charset="0"/>
                <a:cs typeface="Arial" pitchFamily="34" charset="0"/>
              </a:rPr>
              <a:t>Правительство Иркутской  области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735951" y="1451538"/>
            <a:ext cx="1928692" cy="261257"/>
          </a:xfrm>
          <a:prstGeom prst="rect">
            <a:avLst/>
          </a:prstGeom>
          <a:solidFill>
            <a:srgbClr val="AA5CA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инсельхоз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735951" y="1812051"/>
            <a:ext cx="1928692" cy="261257"/>
          </a:xfrm>
          <a:prstGeom prst="rect">
            <a:avLst/>
          </a:prstGeom>
          <a:solidFill>
            <a:srgbClr val="AA5CA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интруд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735951" y="2195854"/>
            <a:ext cx="1928692" cy="261257"/>
          </a:xfrm>
          <a:prstGeom prst="rect">
            <a:avLst/>
          </a:prstGeom>
          <a:solidFill>
            <a:srgbClr val="AA5CA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инпром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735951" y="2570379"/>
            <a:ext cx="1928692" cy="261257"/>
          </a:xfrm>
          <a:prstGeom prst="rect">
            <a:avLst/>
          </a:prstGeom>
          <a:solidFill>
            <a:srgbClr val="AA5CA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err="1"/>
              <a:t>Минспорт</a:t>
            </a:r>
            <a:r>
              <a:rPr lang="ru-RU" sz="1600" b="1" dirty="0"/>
              <a:t> (МКЦ)</a:t>
            </a:r>
          </a:p>
        </p:txBody>
      </p:sp>
      <p:sp>
        <p:nvSpPr>
          <p:cNvPr id="549976" name="TextBox 61"/>
          <p:cNvSpPr txBox="1">
            <a:spLocks noChangeArrowheads="1"/>
          </p:cNvSpPr>
          <p:nvPr/>
        </p:nvSpPr>
        <p:spPr bwMode="auto">
          <a:xfrm>
            <a:off x="3806825" y="4144963"/>
            <a:ext cx="22923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b="1">
                <a:solidFill>
                  <a:srgbClr val="404040"/>
                </a:solidFill>
              </a:rPr>
              <a:t>Предприниматели </a:t>
            </a:r>
          </a:p>
        </p:txBody>
      </p:sp>
      <p:sp>
        <p:nvSpPr>
          <p:cNvPr id="721925" name="Скругленный прямоугольник 721924"/>
          <p:cNvSpPr/>
          <p:nvPr/>
        </p:nvSpPr>
        <p:spPr>
          <a:xfrm>
            <a:off x="7673965" y="3115863"/>
            <a:ext cx="1998908" cy="546242"/>
          </a:xfrm>
          <a:prstGeom prst="roundRect">
            <a:avLst/>
          </a:prstGeom>
          <a:solidFill>
            <a:srgbClr val="7E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21926" name="TextBox 721925"/>
          <p:cNvSpPr txBox="1"/>
          <p:nvPr/>
        </p:nvSpPr>
        <p:spPr>
          <a:xfrm>
            <a:off x="7720041" y="3177483"/>
            <a:ext cx="1865783" cy="36933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ОАО «Особые экономические зоны»</a:t>
            </a: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130557" y="4421533"/>
            <a:ext cx="2008761" cy="1618701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4" name="TextBox 73"/>
          <p:cNvSpPr txBox="1"/>
          <p:nvPr/>
        </p:nvSpPr>
        <p:spPr>
          <a:xfrm>
            <a:off x="249457" y="4435864"/>
            <a:ext cx="1867183" cy="150810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400" b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Частная инфраструктура: </a:t>
            </a:r>
          </a:p>
          <a:p>
            <a:pPr>
              <a:defRPr/>
            </a:pPr>
            <a:r>
              <a:rPr lang="ru-RU" sz="1400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Технопарк г. Ангарск</a:t>
            </a:r>
          </a:p>
          <a:p>
            <a:pPr>
              <a:defRPr/>
            </a:pPr>
            <a:r>
              <a:rPr lang="ru-RU" sz="1400" dirty="0" err="1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Тренинговые</a:t>
            </a:r>
            <a:r>
              <a:rPr lang="ru-RU" sz="1400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 компании</a:t>
            </a:r>
          </a:p>
          <a:p>
            <a:pPr>
              <a:defRPr/>
            </a:pPr>
            <a:r>
              <a:rPr lang="ru-RU" sz="1400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Кадровые агентства</a:t>
            </a:r>
          </a:p>
          <a:p>
            <a:pPr>
              <a:defRPr/>
            </a:pPr>
            <a:r>
              <a:rPr lang="ru-RU" sz="1400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Прочее…</a:t>
            </a: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2372759" y="5163770"/>
            <a:ext cx="2160799" cy="876464"/>
          </a:xfrm>
          <a:prstGeom prst="roundRect">
            <a:avLst/>
          </a:prstGeom>
          <a:solidFill>
            <a:srgbClr val="7E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6" name="TextBox 75"/>
          <p:cNvSpPr txBox="1"/>
          <p:nvPr/>
        </p:nvSpPr>
        <p:spPr>
          <a:xfrm>
            <a:off x="2429616" y="5308995"/>
            <a:ext cx="2016893" cy="5539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Уполномоченный по правам предпринимателей</a:t>
            </a: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2372759" y="3115863"/>
            <a:ext cx="1408054" cy="487388"/>
          </a:xfrm>
          <a:prstGeom prst="roundRect">
            <a:avLst/>
          </a:prstGeom>
          <a:solidFill>
            <a:srgbClr val="7E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8" name="TextBox 77"/>
          <p:cNvSpPr txBox="1"/>
          <p:nvPr/>
        </p:nvSpPr>
        <p:spPr>
          <a:xfrm>
            <a:off x="2440658" y="3267224"/>
            <a:ext cx="1314280" cy="184666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Банки</a:t>
            </a: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4699198" y="4999763"/>
            <a:ext cx="2512302" cy="135669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0" name="TextBox 79"/>
          <p:cNvSpPr txBox="1"/>
          <p:nvPr/>
        </p:nvSpPr>
        <p:spPr>
          <a:xfrm>
            <a:off x="4822187" y="5022443"/>
            <a:ext cx="2266791" cy="12926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Общественные организации</a:t>
            </a:r>
          </a:p>
          <a:p>
            <a:pPr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Опора России</a:t>
            </a:r>
          </a:p>
          <a:p>
            <a:pPr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Деловая Россия</a:t>
            </a:r>
          </a:p>
          <a:p>
            <a:pPr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Торгово- промышленная палата</a:t>
            </a:r>
          </a:p>
          <a:p>
            <a:pPr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Профессиональные сообщества и др.</a:t>
            </a: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7464700" y="4513262"/>
            <a:ext cx="2208172" cy="1526971"/>
          </a:xfrm>
          <a:prstGeom prst="roundRect">
            <a:avLst/>
          </a:prstGeom>
          <a:solidFill>
            <a:srgbClr val="7E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2" name="TextBox 81"/>
          <p:cNvSpPr txBox="1"/>
          <p:nvPr/>
        </p:nvSpPr>
        <p:spPr>
          <a:xfrm>
            <a:off x="7532734" y="4617770"/>
            <a:ext cx="2266791" cy="129266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ВУЗЫ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Технопарк </a:t>
            </a:r>
            <a:r>
              <a:rPr lang="ru-RU" sz="1200" b="1" i="1" dirty="0" err="1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ИрГТУ</a:t>
            </a:r>
            <a:endParaRPr lang="ru-RU" sz="1200" b="1" i="1" dirty="0">
              <a:solidFill>
                <a:schemeClr val="bg1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АНО «Центр инноваций социальной сферы»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ru-RU" sz="1200" b="1" i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Прочие профессиональные центры</a:t>
            </a:r>
          </a:p>
        </p:txBody>
      </p:sp>
      <p:cxnSp>
        <p:nvCxnSpPr>
          <p:cNvPr id="721930" name="Прямая со стрелкой 721929"/>
          <p:cNvCxnSpPr/>
          <p:nvPr/>
        </p:nvCxnSpPr>
        <p:spPr>
          <a:xfrm>
            <a:off x="3781425" y="3359150"/>
            <a:ext cx="368300" cy="303213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934" name="Прямая со стрелкой 721933"/>
          <p:cNvCxnSpPr>
            <a:stCxn id="0" idx="3"/>
          </p:cNvCxnSpPr>
          <p:nvPr/>
        </p:nvCxnSpPr>
        <p:spPr>
          <a:xfrm>
            <a:off x="2139950" y="4133850"/>
            <a:ext cx="1552575" cy="38100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936" name="Прямая со стрелкой 721935"/>
          <p:cNvCxnSpPr>
            <a:stCxn id="0" idx="0"/>
          </p:cNvCxnSpPr>
          <p:nvPr/>
        </p:nvCxnSpPr>
        <p:spPr>
          <a:xfrm flipV="1">
            <a:off x="3452813" y="4638675"/>
            <a:ext cx="833437" cy="525463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938" name="Прямая со стрелкой 721937"/>
          <p:cNvCxnSpPr/>
          <p:nvPr/>
        </p:nvCxnSpPr>
        <p:spPr>
          <a:xfrm flipH="1" flipV="1">
            <a:off x="5783263" y="4703763"/>
            <a:ext cx="92075" cy="295275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940" name="Прямая со стрелкой 721939"/>
          <p:cNvCxnSpPr/>
          <p:nvPr/>
        </p:nvCxnSpPr>
        <p:spPr>
          <a:xfrm flipH="1" flipV="1">
            <a:off x="6711950" y="4421188"/>
            <a:ext cx="752475" cy="558800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961" name="Прямая со стрелкой 721960"/>
          <p:cNvCxnSpPr/>
          <p:nvPr/>
        </p:nvCxnSpPr>
        <p:spPr>
          <a:xfrm>
            <a:off x="5346700" y="3027363"/>
            <a:ext cx="0" cy="515937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0007" name="Picture 4" descr="Снимок экрана 2014-02-20 в 11.19.55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40438" y="3775075"/>
            <a:ext cx="5715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0008" name="TextBox 61"/>
          <p:cNvSpPr txBox="1">
            <a:spLocks noChangeArrowheads="1"/>
          </p:cNvSpPr>
          <p:nvPr/>
        </p:nvSpPr>
        <p:spPr bwMode="auto">
          <a:xfrm>
            <a:off x="3841750" y="3836988"/>
            <a:ext cx="22320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b="1">
                <a:solidFill>
                  <a:srgbClr val="404040"/>
                </a:solidFill>
              </a:rPr>
              <a:t>Предприятия МСБ </a:t>
            </a:r>
          </a:p>
        </p:txBody>
      </p:sp>
      <p:cxnSp>
        <p:nvCxnSpPr>
          <p:cNvPr id="87" name="Прямая со стрелкой 86"/>
          <p:cNvCxnSpPr>
            <a:endCxn id="0" idx="0"/>
          </p:cNvCxnSpPr>
          <p:nvPr/>
        </p:nvCxnSpPr>
        <p:spPr>
          <a:xfrm>
            <a:off x="3076575" y="2921000"/>
            <a:ext cx="0" cy="195263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Скругленный прямоугольник 95"/>
          <p:cNvSpPr/>
          <p:nvPr/>
        </p:nvSpPr>
        <p:spPr>
          <a:xfrm>
            <a:off x="7665736" y="3718671"/>
            <a:ext cx="1998908" cy="546242"/>
          </a:xfrm>
          <a:prstGeom prst="roundRect">
            <a:avLst/>
          </a:prstGeom>
          <a:solidFill>
            <a:srgbClr val="7E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7" name="TextBox 96"/>
          <p:cNvSpPr txBox="1"/>
          <p:nvPr/>
        </p:nvSpPr>
        <p:spPr>
          <a:xfrm>
            <a:off x="7711812" y="3780291"/>
            <a:ext cx="1865783" cy="36933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cs typeface="Arial" pitchFamily="34" charset="0"/>
              </a:rPr>
              <a:t>Корпорация Развития Иркутской области</a:t>
            </a:r>
          </a:p>
        </p:txBody>
      </p:sp>
      <p:cxnSp>
        <p:nvCxnSpPr>
          <p:cNvPr id="106" name="Прямая со стрелкой 105"/>
          <p:cNvCxnSpPr/>
          <p:nvPr/>
        </p:nvCxnSpPr>
        <p:spPr>
          <a:xfrm>
            <a:off x="2139950" y="3603625"/>
            <a:ext cx="1541463" cy="447675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 стрелкой 108"/>
          <p:cNvCxnSpPr/>
          <p:nvPr/>
        </p:nvCxnSpPr>
        <p:spPr>
          <a:xfrm flipV="1">
            <a:off x="2139950" y="4341813"/>
            <a:ext cx="1641475" cy="536575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Скругленный прямоугольник 119"/>
          <p:cNvSpPr/>
          <p:nvPr/>
        </p:nvSpPr>
        <p:spPr>
          <a:xfrm>
            <a:off x="5603549" y="1794355"/>
            <a:ext cx="2020900" cy="851946"/>
          </a:xfrm>
          <a:prstGeom prst="roundRect">
            <a:avLst/>
          </a:prstGeom>
          <a:solidFill>
            <a:srgbClr val="B6646B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Управления и отделы министерства</a:t>
            </a:r>
          </a:p>
        </p:txBody>
      </p:sp>
      <p:cxnSp>
        <p:nvCxnSpPr>
          <p:cNvPr id="125" name="Прямая со стрелкой 124"/>
          <p:cNvCxnSpPr/>
          <p:nvPr/>
        </p:nvCxnSpPr>
        <p:spPr>
          <a:xfrm>
            <a:off x="6213475" y="1595438"/>
            <a:ext cx="214313" cy="203200"/>
          </a:xfrm>
          <a:prstGeom prst="straightConnector1">
            <a:avLst/>
          </a:prstGeom>
          <a:ln>
            <a:solidFill>
              <a:srgbClr val="9E303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 стрелкой 136"/>
          <p:cNvCxnSpPr>
            <a:stCxn id="721926" idx="1"/>
          </p:cNvCxnSpPr>
          <p:nvPr/>
        </p:nvCxnSpPr>
        <p:spPr>
          <a:xfrm flipH="1">
            <a:off x="6611938" y="3362325"/>
            <a:ext cx="1108075" cy="412750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 стрелкой 137"/>
          <p:cNvCxnSpPr>
            <a:stCxn id="97" idx="1"/>
          </p:cNvCxnSpPr>
          <p:nvPr/>
        </p:nvCxnSpPr>
        <p:spPr>
          <a:xfrm flipH="1">
            <a:off x="6904038" y="3965575"/>
            <a:ext cx="808037" cy="147638"/>
          </a:xfrm>
          <a:prstGeom prst="straightConnector1">
            <a:avLst/>
          </a:prstGeom>
          <a:ln>
            <a:solidFill>
              <a:srgbClr val="FE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0022" name="Рисунок 60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TextBox 60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02426" y="1126852"/>
            <a:ext cx="2133096" cy="7060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ru-RU" sz="1700" b="1" dirty="0" smtClean="0">
                <a:ln/>
                <a:solidFill>
                  <a:schemeClr val="accent3">
                    <a:lumMod val="50000"/>
                  </a:schemeClr>
                </a:solidFill>
              </a:rPr>
              <a:t>Федеральный центр</a:t>
            </a:r>
            <a:endParaRPr lang="ru-RU" sz="1700" b="1" dirty="0">
              <a:ln/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2235522" y="1242060"/>
            <a:ext cx="48138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59068" name="Group 92"/>
          <p:cNvGraphicFramePr>
            <a:graphicFrameLocks noGrp="1"/>
          </p:cNvGraphicFramePr>
          <p:nvPr/>
        </p:nvGraphicFramePr>
        <p:xfrm>
          <a:off x="390525" y="1039813"/>
          <a:ext cx="9242425" cy="5418139"/>
        </p:xfrm>
        <a:graphic>
          <a:graphicData uri="http://schemas.openxmlformats.org/drawingml/2006/table">
            <a:tbl>
              <a:tblPr/>
              <a:tblGrid>
                <a:gridCol w="249238"/>
                <a:gridCol w="3217862"/>
                <a:gridCol w="600075"/>
                <a:gridCol w="781050"/>
                <a:gridCol w="3152775"/>
                <a:gridCol w="1216025"/>
                <a:gridCol w="25400"/>
              </a:tblGrid>
              <a:tr h="141288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ГРАММА МИНЭК РФ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ФАСТРУКТУРА для малого и среднего предпринимательства  (возможности программы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57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ероприятие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ткое название мероприятия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имальный размер субсидий для МСП, тыс. рублей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новные параметры реализации мероприятия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кущее состояние в ИО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развитие инфраструктуры поддержки субъектов малого предпринимательства -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изнес-инкубаторов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И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2 80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щая площадь нежилых помещений БИ должна составлять не менее 900 кв. метров, при этом площадь, предназначенная для размещения субъектов малого предпринимательства, должна составлять не менее 85% от расчетной площади БИ, а оставшаяся часть площади может предоставляться организациям, образующим инфраструктуру поддержки субъектов малого предпринимательства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99218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и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ов кластерного развития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субъектов малого и среднего предпринимательства, в том числе организаций – участников инновационных территориальных кластеров, в целях содействия координации проектов, обеспечивающих развитие территориальных кластеров, в том числе инновационных территориальных кластеров, и кооперационное взаимодействие участников территориальных кластеров между собой.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КР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КР – структурное подразделение юридического лица или самостоятельное юридическое лицо:- которые относятся к инфраструктуре поддержки малого и среднего предпринимательства;- одним из учредителей, которых является субъект Российской Федерации или муниципальное образование. ЦКР может размещаться на базе технопарка, относящегося к инфраструктуре поддержки субъектов малого и среднего предпринимательства и соответствующего критериям Субсидии направлены на приобретение основных средств (только в первый год создания РЦИ), услуги связи, коммунальные услуги и аренда помещений, оплата услуг сторонних организация и иные расходы.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 в сентябре 2014 года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7016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ет и (или) обеспечение деятельность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ов </a:t>
                      </a:r>
                      <a:r>
                        <a:rPr kumimoji="0" lang="ru-RU" sz="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тотипирования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ак инженерно-производственных комплексов, специализирующихся на разработке полной системы производства от компьютерного проектирования до технологического оснащения, в том числе организаций - участников инновационных территориальных кластеров.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 Прототипирования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:</a:t>
                      </a:r>
                      <a:b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на проведение работ, связанных с улучшением эксплуатации и использования площадей Центра прототипирования - не более 5%;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на маркетинговые исследования - не более 5%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на обучение работников Центра прототипирования не более 10% от суммарной стоимости оборудования, базовых расходных материалов и лицензионного программного обеспечения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873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ь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егиональных центров инжиниринга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для МСП в целях развития применения субъектами малого и среднего предпринимательства инновационных технологий, повышения технологической готовности малых и средних производственных предприятий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ЦИ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направлены на: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приобретение основных средств для осуществления опытно-конструкторской и научно-исследовательской деятельности РЦИ возможно только со 2 (второго) года работы РЦИ и должно составлять не более 80% от ежегодного объема финансирования РЦИ, </a:t>
                      </a:r>
                      <a:b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услуги связи, коммунальные услуги и аренда помещений, оплата услуг сторонних организация и иные расходы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и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ов сертификации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стандартизации, испытаний (коллективного пользования)  в целях возрождения единой системы аттестации оборудования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 сертификации (КП)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:</a:t>
                      </a:r>
                      <a:b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на маркетинговые исследования не превышают 5% от суммарной стоимости оборудования, базовых расходных материалов и лицензионного программного обеспечения;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на обучение работников Центра сертификации не превышают 10% от суммарной стоимости оборудования, базовых расходных материалов и лицензионного программного обеспечения.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683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и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ов молодёжного инновационного творчества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ориентированных на обеспечение деятельности в научно-технической сфере субъектов малого и среднего предпринимательства, детей и молодежи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МИ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 00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направляются на приобретение высокотехнологичного оборудования (с комплектом запчастей и расходных материалов), электронно-вычислительной техники (оборудования для обработки информации), программного обеспечения, оборудование для проведения видеоконференций, периферийных устройств, копировально-множительного оборудования, обеспечение связи.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635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федерального бюджета на создание и (или) обеспечение деятельности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ов инноваций социальной сферы 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ИСС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 00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направлены на приобретение основных средств, услуги связи, коммунальные услуги и аренда помещений, оплата услуг сторонних организация и иные расходы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559060" name="Заголовок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59064" name="Рисунок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0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graphicFrame>
        <p:nvGraphicFramePr>
          <p:cNvPr id="2560110" name="Group 110"/>
          <p:cNvGraphicFramePr>
            <a:graphicFrameLocks noGrp="1"/>
          </p:cNvGraphicFramePr>
          <p:nvPr/>
        </p:nvGraphicFramePr>
        <p:xfrm>
          <a:off x="382588" y="1060450"/>
          <a:ext cx="9250362" cy="5455288"/>
        </p:xfrm>
        <a:graphic>
          <a:graphicData uri="http://schemas.openxmlformats.org/drawingml/2006/table">
            <a:tbl>
              <a:tblPr/>
              <a:tblGrid>
                <a:gridCol w="292100"/>
                <a:gridCol w="2662237"/>
                <a:gridCol w="776288"/>
                <a:gridCol w="847725"/>
                <a:gridCol w="3424237"/>
                <a:gridCol w="1222375"/>
                <a:gridCol w="25400"/>
              </a:tblGrid>
              <a:tr h="60007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ероприятие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ткое название мероприят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имальный размер субсидий для МСП, тыс. рублей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новные параметры реализации мероприят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кущее состояние в ИО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мышленных (индустриальных) парков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мпарк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321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развитие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астных промышленных парков  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Частный </a:t>
                      </a:r>
                      <a:r>
                        <a:rPr kumimoji="0" lang="ru-RU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мпар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 00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развитие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хнопарков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хнопарк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хнопарк - не менее 5000 кв. метров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7306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1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развитие системы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крофинансирования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Ф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 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доставляющих займы до 1 млн. рублей и сроком не более 3 года по ставке, не превышающей 10% годовых, за исключением представления займа пострадавшим от ЧС - срок не более 3 лет, процентная ставка - не более 0,5 % годовых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 (в 22 МО созданы МФО)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733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развитие системы микрофинансирования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ФО 2 уровня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. 120 000 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доставляющих займы до 1 млн. рублей и сроком не более 3 года по ставке, не превышающей 10% годовых, за исключением представления займа пострадавшим от ЧС - срок не более 3 лет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95885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увеличение капитализации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арантийных фондов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(фондов поручительств).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Ф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имальный размер вознаграждения Гарантийной организации за предоставление поручительства должен составлять не более одной третьей ставки рефинансирования, устанавливаемой ЦБ РФ и действовавшей на дату заключения договора поручительства, от суммы предоставленного поручительства. Объем ответственности Гарантийной организации (сумма поручительства) по заключаемому договору поручительства в относительном выражении не более 70% от объема обязательств субъекта малого и среднего предпринимательства, организации инфраструктуры поддержки субъектов малого и среднего предпринимательства перед финансовой организацией, установленных заключаемым между ними договором.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00488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и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а поддержки предпринимательства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ПП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направляются на консультационные услуги по разработке и внедрению системы менеджмента качества, а также услуги по ее сертификации - не более 0,5 млн. рублей;  однократно на приобретение офисной мебели, электронно-вычислительной техники (иного оборудования для обработки информации), программного обеспечения, периферийных устройств, копировально-множительного оборудования, обеспечение связи;- на оплату работ и услуг, соответствующих направлениям деятельности Центра поддержки предпринимательства, выполняемых (оказываемых) третьими лицами, в том числе на организацию предоставления консультаций субъектов малого и среднего предпринимательства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9848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(или) обеспечение деятельности регионального 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нтра координации поддержки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кспортно</a:t>
                      </a: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риентированных субъектов малого и среднего предпринимательства 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ксЦентр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убсидии направляются на компенсации затрат, связанных с получением сертификата ISO 9001 (консультационные услуги по разработке и внедрению системы менеджмента качества, а также услуги по ее сертификации) и проведением планового ежегодного инспекционного контроля системы менеджмента качества Центра на соответствие требованиям международного стандарта качества ISO 9001:2008 (в течение срока действия сертификата) 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6699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6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здание и обеспечение деятельности информационно-аналитических центров </a:t>
                      </a: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Евро Инфо Корреспондентских центров)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ЕИКЦ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ограничено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 менее 15% субсидии  на выполнение мероприятий, направленных на развитие и повышение эффективности деятельности ЕИКЦ (обучение, повышение квалификации, организационное и институциональное развитие, внедрение стандартов и регламентов деятельности, повышение качества оказываемых услуг). Для компенсации затрат, связанных с получением сертификата ISO 9001 (консультационные услуги по разработке и внедрению системы менеджмента качества, а также услуги по ее сертификации) - не более 0,5 млн. рублей.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/>
                      </a:r>
                      <a:b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60105" name="Рисунок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61027" name="Рисунок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102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СПАСИБО ЗА ВНИМАНЕ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2858461" y="1216611"/>
            <a:ext cx="4172430" cy="358616"/>
          </a:xfrm>
          <a:prstGeom prst="roundRect">
            <a:avLst/>
          </a:prstGeom>
          <a:solidFill>
            <a:srgbClr val="6A6EC2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615636" y="1650315"/>
          <a:ext cx="8790914" cy="4560795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</a:tblPr>
              <a:tblGrid>
                <a:gridCol w="1321211"/>
                <a:gridCol w="876446"/>
                <a:gridCol w="1092572"/>
                <a:gridCol w="1092572"/>
                <a:gridCol w="919678"/>
                <a:gridCol w="1078243"/>
                <a:gridCol w="1062387"/>
                <a:gridCol w="1347805"/>
              </a:tblGrid>
              <a:tr h="94129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Стран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ВВП </a:t>
                      </a:r>
                      <a:endParaRPr lang="ru-RU" sz="1200" b="1" i="0" u="none" strike="noStrike" dirty="0" smtClean="0">
                        <a:solidFill>
                          <a:srgbClr val="FFFFFF"/>
                        </a:solidFill>
                        <a:effectLst>
                          <a:outerShdw blurRad="50800" dist="38100" dir="16200000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  <a:p>
                      <a:pPr marL="0" indent="90488" algn="l" rtl="0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млн</a:t>
                      </a:r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. долл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Доля занятых в МСП 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>
                          <a:outerShdw blurRad="50800" dist="38100" dir="16200000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Вклад </a:t>
                      </a:r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МСП В ВВ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0" algn="l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МСП в ВВП (млн. долл.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0" algn="l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Население </a:t>
                      </a:r>
                      <a:endParaRPr lang="ru-RU" sz="1200" b="1" i="0" u="none" strike="noStrike" dirty="0" smtClean="0">
                        <a:solidFill>
                          <a:srgbClr val="FFFFFF"/>
                        </a:solidFill>
                        <a:effectLst>
                          <a:outerShdw blurRad="50800" dist="38100" dir="16200000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  <a:p>
                      <a:pPr marL="90488" indent="0" algn="l" rtl="0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чел.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0" algn="l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ВВП на душу населения (долл.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0" algn="l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>
                            <a:outerShdw blurRad="50800" dist="38100" dir="16200000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libri" panose="020F0502020204030204" pitchFamily="34" charset="0"/>
                        </a:rPr>
                        <a:t>Вклад МСП в ВРП в пересчете на душу насе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B7E1"/>
                    </a:solidFill>
                  </a:tcPr>
                </a:tc>
              </a:tr>
              <a:tr h="358589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Ш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84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42 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169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,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358589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ита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27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6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690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,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80999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по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59 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5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560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414618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ран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12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3 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73 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,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425823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ликобрита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5 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7 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634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разил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2 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 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170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,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ал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3 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  <a:endParaRPr lang="ru-RU" sz="1200" b="0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200 0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448236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Росс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 014 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423 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141 909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14 </a:t>
                      </a:r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197,7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981,5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470647">
                <a:tc>
                  <a:txBody>
                    <a:bodyPr/>
                    <a:lstStyle/>
                    <a:p>
                      <a:pPr marL="0" indent="90488" algn="l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1 250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4,6%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2 422 0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8 </a:t>
                      </a:r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367,7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EA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  <a:endParaRPr lang="ru-RU" sz="1200" b="1" i="0" u="none" strike="noStrike" dirty="0">
                        <a:solidFill>
                          <a:srgbClr val="EA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543794" name="Object 5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3800" name="Title 1"/>
          <p:cNvSpPr>
            <a:spLocks noGrp="1"/>
          </p:cNvSpPr>
          <p:nvPr>
            <p:ph type="title"/>
          </p:nvPr>
        </p:nvSpPr>
        <p:spPr>
          <a:xfrm>
            <a:off x="2289175" y="115888"/>
            <a:ext cx="7543800" cy="576262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Arial" charset="0"/>
                <a:cs typeface="Arial" charset="0"/>
              </a:rPr>
              <a:t>Доля МСП в ВВП</a:t>
            </a:r>
            <a:endParaRPr dirty="0" smtClean="0">
              <a:latin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66988" y="1270000"/>
            <a:ext cx="4410075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AvantGardeCTT" pitchFamily="2" charset="0"/>
                <a:cs typeface="Arial" pitchFamily="34" charset="0"/>
              </a:rPr>
              <a:t>ВВП разных </a:t>
            </a:r>
            <a:r>
              <a:rPr lang="ru-RU" sz="1400" b="1" dirty="0" smtClean="0">
                <a:solidFill>
                  <a:schemeClr val="bg1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AvantGardeCTT" pitchFamily="2" charset="0"/>
                <a:cs typeface="Arial" pitchFamily="34" charset="0"/>
              </a:rPr>
              <a:t>стран</a:t>
            </a:r>
            <a:endParaRPr lang="ru-RU" sz="1400" b="1" dirty="0">
              <a:solidFill>
                <a:schemeClr val="bg1"/>
              </a:solidFill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latin typeface="AvantGardeCTT" pitchFamily="2" charset="0"/>
              <a:cs typeface="Arial" pitchFamily="34" charset="0"/>
            </a:endParaRPr>
          </a:p>
        </p:txBody>
      </p:sp>
      <p:pic>
        <p:nvPicPr>
          <p:cNvPr id="543804" name="Рисунок 1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55908" name="Title 1"/>
          <p:cNvSpPr>
            <a:spLocks noGrp="1"/>
          </p:cNvSpPr>
          <p:nvPr>
            <p:ph type="title"/>
          </p:nvPr>
        </p:nvSpPr>
        <p:spPr>
          <a:xfrm>
            <a:off x="2289175" y="115888"/>
            <a:ext cx="7543800" cy="576262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Arial" charset="0"/>
                <a:cs typeface="Arial" charset="0"/>
              </a:rPr>
              <a:t>Количество предприятий МСП</a:t>
            </a:r>
            <a:endParaRPr dirty="0" smtClean="0">
              <a:latin typeface="Arial" charset="0"/>
              <a:cs typeface="Arial" charset="0"/>
            </a:endParaRPr>
          </a:p>
        </p:txBody>
      </p:sp>
      <p:sp>
        <p:nvSpPr>
          <p:cNvPr id="2555909" name="Номер слайда 3"/>
          <p:cNvSpPr txBox="1">
            <a:spLocks/>
          </p:cNvSpPr>
          <p:nvPr/>
        </p:nvSpPr>
        <p:spPr bwMode="auto">
          <a:xfrm>
            <a:off x="9236075" y="6429375"/>
            <a:ext cx="6699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ru-RU"/>
          </a:p>
        </p:txBody>
      </p:sp>
      <p:pic>
        <p:nvPicPr>
          <p:cNvPr id="2555910" name="Рисунок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968188" y="1227666"/>
          <a:ext cx="7620000" cy="43394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0000"/>
                <a:gridCol w="2540000"/>
                <a:gridCol w="2540000"/>
              </a:tblGrid>
              <a:tr h="86788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Итого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90 987 ед.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100%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</a:tr>
              <a:tr h="86788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Средние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293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0,3 %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</a:tr>
              <a:tr h="86788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Малые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3 567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3,9%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</a:tr>
              <a:tr h="86788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Микро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25 351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27,9%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</a:tr>
              <a:tr h="86788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ИП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61 776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67,9%</a:t>
                      </a:r>
                      <a:endParaRPr lang="ru-RU" sz="1100" b="1" dirty="0"/>
                    </a:p>
                  </a:txBody>
                  <a:tcPr>
                    <a:solidFill>
                      <a:srgbClr val="CF989C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7789" name="Рисунок 1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412" y="1068991"/>
            <a:ext cx="2537158" cy="124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7790" name="Рисунок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0036" y="4880961"/>
            <a:ext cx="2375358" cy="750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7791" name="Рисунок 3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53000" y="1397318"/>
            <a:ext cx="2634251" cy="1054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7792" name="Рисунок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3207" y="2976670"/>
            <a:ext cx="2310973" cy="1134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7793" name="Рисунок 7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60891" y="2993453"/>
            <a:ext cx="2132805" cy="1047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7794" name="Рисунок 8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788363" y="4734941"/>
            <a:ext cx="2203295" cy="127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2507787" name="Object 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80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7796" name="Title 1"/>
          <p:cNvSpPr>
            <a:spLocks noGrp="1"/>
          </p:cNvSpPr>
          <p:nvPr>
            <p:ph type="title"/>
          </p:nvPr>
        </p:nvSpPr>
        <p:spPr>
          <a:xfrm>
            <a:off x="2289175" y="115888"/>
            <a:ext cx="7543800" cy="576262"/>
          </a:xfrm>
        </p:spPr>
        <p:txBody>
          <a:bodyPr/>
          <a:lstStyle/>
          <a:p>
            <a:r>
              <a:rPr lang="ru-RU" smtClean="0">
                <a:latin typeface="Arial" charset="0"/>
                <a:cs typeface="Arial" charset="0"/>
              </a:rPr>
              <a:t>Влияние сектора МСП на социально-экономическое развитие Иркутской области</a:t>
            </a:r>
          </a:p>
        </p:txBody>
      </p:sp>
      <p:pic>
        <p:nvPicPr>
          <p:cNvPr id="2507798" name="Рисунок 1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54866" y="1773340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8,8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16766" y="3440345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,4%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23082" y="2497837"/>
            <a:ext cx="41986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1950" indent="-361950"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Доля юридических лиц МСП в общем</a:t>
            </a:r>
          </a:p>
          <a:p>
            <a:pPr marL="361950" indent="-361950"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объеме предприятий области</a:t>
            </a:r>
            <a:endParaRPr lang="ru-RU" sz="14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1324" y="4274546"/>
            <a:ext cx="4198620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1950" indent="-361950"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Доля </a:t>
            </a:r>
            <a:r>
              <a:rPr lang="ru-RU" sz="1400" b="1" dirty="0">
                <a:solidFill>
                  <a:srgbClr val="00338D"/>
                </a:solidFill>
              </a:rPr>
              <a:t>инвестиций МСП в общем объеме</a:t>
            </a:r>
          </a:p>
          <a:p>
            <a:pPr marL="361950" indent="-361950"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инвестиций </a:t>
            </a:r>
            <a:endParaRPr lang="ru-RU" sz="14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48650" y="5179905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4,6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3208" y="5920326"/>
            <a:ext cx="4198620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Доля </a:t>
            </a:r>
            <a:r>
              <a:rPr lang="ru-RU" sz="1400" b="1" dirty="0">
                <a:solidFill>
                  <a:srgbClr val="00338D"/>
                </a:solidFill>
              </a:rPr>
              <a:t>экономически активного </a:t>
            </a:r>
            <a:r>
              <a:rPr lang="ru-RU" sz="1400" b="1" dirty="0" smtClean="0">
                <a:solidFill>
                  <a:srgbClr val="00338D"/>
                </a:solidFill>
              </a:rPr>
              <a:t>населения, занятого </a:t>
            </a:r>
            <a:r>
              <a:rPr lang="ru-RU" sz="1400" b="1" dirty="0">
                <a:solidFill>
                  <a:srgbClr val="00338D"/>
                </a:solidFill>
              </a:rPr>
              <a:t>в секторе МСП </a:t>
            </a:r>
            <a:endParaRPr lang="ru-RU" sz="14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911935" y="1777245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7,9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873835" y="3444250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4,9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80151" y="2501742"/>
            <a:ext cx="4198620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1950" indent="-361950"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Доля </a:t>
            </a:r>
            <a:r>
              <a:rPr lang="ru-RU" sz="1400" b="1" dirty="0">
                <a:solidFill>
                  <a:srgbClr val="00338D"/>
                </a:solidFill>
              </a:rPr>
              <a:t>оборота МСП в общем </a:t>
            </a:r>
          </a:p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 smtClean="0">
                <a:solidFill>
                  <a:srgbClr val="00338D"/>
                </a:solidFill>
              </a:rPr>
              <a:t>объеме оборота</a:t>
            </a:r>
            <a:endParaRPr lang="ru-RU" sz="14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978393" y="4156531"/>
            <a:ext cx="41986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>
                <a:solidFill>
                  <a:srgbClr val="00338D"/>
                </a:solidFill>
              </a:rPr>
              <a:t>Доля поступлений от МСП в налоговых доходах области</a:t>
            </a:r>
          </a:p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ru-RU" sz="1200" b="1" dirty="0" smtClean="0">
                <a:solidFill>
                  <a:srgbClr val="00338D"/>
                </a:solidFill>
              </a:rPr>
              <a:t>(</a:t>
            </a:r>
            <a:r>
              <a:rPr lang="ru-RU" sz="1200" b="1" dirty="0">
                <a:solidFill>
                  <a:srgbClr val="00338D"/>
                </a:solidFill>
              </a:rPr>
              <a:t>по спец. режимам налогообложения)</a:t>
            </a:r>
            <a:endParaRPr lang="ru-RU" sz="12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905719" y="5183810"/>
            <a:ext cx="891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,5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10277" y="5924231"/>
            <a:ext cx="4198620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ru-RU" sz="1400" b="1" dirty="0">
                <a:solidFill>
                  <a:srgbClr val="00338D"/>
                </a:solidFill>
              </a:rPr>
              <a:t>Доля продукции, произведенная малыми предприятиями </a:t>
            </a:r>
            <a:r>
              <a:rPr lang="ru-RU" sz="1400" b="1" dirty="0" smtClean="0">
                <a:solidFill>
                  <a:srgbClr val="00338D"/>
                </a:solidFill>
              </a:rPr>
              <a:t>в общем </a:t>
            </a:r>
            <a:r>
              <a:rPr lang="ru-RU" sz="1400" b="1" dirty="0">
                <a:solidFill>
                  <a:srgbClr val="00338D"/>
                </a:solidFill>
              </a:rPr>
              <a:t>объеме ВРП</a:t>
            </a:r>
            <a:endParaRPr lang="ru-RU" sz="1400" b="1" dirty="0" smtClean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3" name="Object 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9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289175" y="115888"/>
            <a:ext cx="7543800" cy="5762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kern="1200" dirty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2000" dirty="0">
                <a:latin typeface="Arial" charset="0"/>
                <a:cs typeface="Arial" charset="0"/>
              </a:rPr>
              <a:t>Структура субъектов </a:t>
            </a:r>
            <a:r>
              <a:rPr lang="ru-RU" sz="2000" dirty="0" smtClean="0">
                <a:latin typeface="Arial" charset="0"/>
                <a:cs typeface="Arial" charset="0"/>
              </a:rPr>
              <a:t>МСП в 2013 году </a:t>
            </a:r>
            <a:r>
              <a:rPr lang="ru-RU" sz="2000" dirty="0">
                <a:latin typeface="Arial" charset="0"/>
                <a:cs typeface="Arial" charset="0"/>
              </a:rPr>
              <a:t>по видам экономической деятельности (%)</a:t>
            </a:r>
            <a:endParaRPr lang="ru-RU" sz="2000" dirty="0" smtClean="0">
              <a:latin typeface="Arial" charset="0"/>
              <a:cs typeface="Arial" charset="0"/>
            </a:endParaRPr>
          </a:p>
        </p:txBody>
      </p:sp>
      <p:pic>
        <p:nvPicPr>
          <p:cNvPr id="5" name="Рисунок 18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601525"/>
              </p:ext>
            </p:extLst>
          </p:nvPr>
        </p:nvGraphicFramePr>
        <p:xfrm>
          <a:off x="354405" y="1060524"/>
          <a:ext cx="9210040" cy="566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0865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3" name="Object 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9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289175" y="115888"/>
            <a:ext cx="7543800" cy="5762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kern="1200" dirty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2000" dirty="0">
                <a:latin typeface="Arial" charset="0"/>
                <a:cs typeface="Arial" charset="0"/>
              </a:rPr>
              <a:t>Показатели деятельности субъектов МСП по видам экономической деятельности в 2013-2014 гг. (%)</a:t>
            </a:r>
            <a:endParaRPr lang="ru-RU" sz="2000" dirty="0" smtClean="0">
              <a:latin typeface="Arial" charset="0"/>
              <a:cs typeface="Arial" charset="0"/>
            </a:endParaRPr>
          </a:p>
        </p:txBody>
      </p:sp>
      <p:pic>
        <p:nvPicPr>
          <p:cNvPr id="5" name="Рисунок 18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7285087"/>
              </p:ext>
            </p:extLst>
          </p:nvPr>
        </p:nvGraphicFramePr>
        <p:xfrm>
          <a:off x="173037" y="1167318"/>
          <a:ext cx="4979808" cy="2430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543338"/>
              </p:ext>
            </p:extLst>
          </p:nvPr>
        </p:nvGraphicFramePr>
        <p:xfrm>
          <a:off x="4969164" y="1167318"/>
          <a:ext cx="4817325" cy="2445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3452159"/>
              </p:ext>
            </p:extLst>
          </p:nvPr>
        </p:nvGraphicFramePr>
        <p:xfrm>
          <a:off x="253425" y="3557115"/>
          <a:ext cx="5363604" cy="2612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2354578"/>
              </p:ext>
            </p:extLst>
          </p:nvPr>
        </p:nvGraphicFramePr>
        <p:xfrm>
          <a:off x="4969164" y="3547066"/>
          <a:ext cx="4873859" cy="243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33046" y="6169688"/>
            <a:ext cx="170822" cy="130628"/>
          </a:xfrm>
          <a:prstGeom prst="rect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954594" y="6169688"/>
            <a:ext cx="15072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ельское </a:t>
            </a:r>
            <a:r>
              <a:rPr lang="ru-RU" sz="1000" b="1" dirty="0">
                <a:latin typeface="Arial" pitchFamily="34" charset="0"/>
                <a:cs typeface="Arial" pitchFamily="34" charset="0"/>
              </a:rPr>
              <a:t>хозяйство</a:t>
            </a:r>
            <a:endParaRPr lang="ru-RU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64004" y="6158151"/>
            <a:ext cx="170822" cy="130628"/>
          </a:xfrm>
          <a:prstGeom prst="rect">
            <a:avLst/>
          </a:prstGeom>
          <a:solidFill>
            <a:srgbClr val="BF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2885552" y="6158151"/>
            <a:ext cx="15072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Промышленность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494962" y="6158151"/>
            <a:ext cx="170822" cy="130628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4816510" y="6158151"/>
            <a:ext cx="15072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троительств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280209" y="6169688"/>
            <a:ext cx="170822" cy="130628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6601757" y="6169688"/>
            <a:ext cx="15072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Торговл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947641" y="6191460"/>
            <a:ext cx="170822" cy="130628"/>
          </a:xfrm>
          <a:prstGeom prst="rect">
            <a:avLst/>
          </a:prstGeom>
          <a:solidFill>
            <a:srgbClr val="C84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8269189" y="6191460"/>
            <a:ext cx="15072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Услуги</a:t>
            </a:r>
          </a:p>
        </p:txBody>
      </p:sp>
    </p:spTree>
    <p:extLst>
      <p:ext uri="{BB962C8B-B14F-4D97-AF65-F5344CB8AC3E}">
        <p14:creationId xmlns:p14="http://schemas.microsoft.com/office/powerpoint/2010/main" val="2214837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2"/>
          <p:cNvGraphicFramePr>
            <a:graphicFrameLocks/>
          </p:cNvGraphicFramePr>
          <p:nvPr/>
        </p:nvGraphicFramePr>
        <p:xfrm>
          <a:off x="1" y="1087130"/>
          <a:ext cx="9753600" cy="5618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55908" name="Title 1"/>
          <p:cNvSpPr>
            <a:spLocks noGrp="1"/>
          </p:cNvSpPr>
          <p:nvPr>
            <p:ph type="title"/>
          </p:nvPr>
        </p:nvSpPr>
        <p:spPr>
          <a:xfrm>
            <a:off x="2289175" y="115888"/>
            <a:ext cx="7543800" cy="576262"/>
          </a:xfrm>
        </p:spPr>
        <p:txBody>
          <a:bodyPr/>
          <a:lstStyle/>
          <a:p>
            <a:pPr eaLnBrk="1" hangingPunct="1"/>
            <a:r>
              <a:rPr lang="ru-RU" smtClean="0">
                <a:latin typeface="Arial" charset="0"/>
                <a:cs typeface="Arial" charset="0"/>
              </a:rPr>
              <a:t>Соотношение ВРП, видов деятельности и оборота</a:t>
            </a:r>
            <a:endParaRPr smtClean="0">
              <a:latin typeface="Arial" charset="0"/>
              <a:cs typeface="Arial" charset="0"/>
            </a:endParaRPr>
          </a:p>
        </p:txBody>
      </p:sp>
      <p:sp>
        <p:nvSpPr>
          <p:cNvPr id="2555909" name="Номер слайда 3"/>
          <p:cNvSpPr txBox="1">
            <a:spLocks/>
          </p:cNvSpPr>
          <p:nvPr/>
        </p:nvSpPr>
        <p:spPr bwMode="auto">
          <a:xfrm>
            <a:off x="9236075" y="6429375"/>
            <a:ext cx="6699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ru-RU"/>
          </a:p>
        </p:txBody>
      </p:sp>
      <p:pic>
        <p:nvPicPr>
          <p:cNvPr id="2555910" name="Рисунок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3" name="Object 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9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289175" y="115888"/>
            <a:ext cx="7543800" cy="5762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400" b="1" kern="1200" dirty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8D"/>
                </a:solidFill>
                <a:latin typeface="+mj-lt"/>
                <a:cs typeface="Arial" pitchFamily="34" charset="0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2000" dirty="0" smtClean="0">
                <a:latin typeface="Arial" charset="0"/>
                <a:cs typeface="Arial" charset="0"/>
              </a:rPr>
              <a:t>Рейтинг Иркутской области в Сибирском федеральном округе</a:t>
            </a:r>
          </a:p>
        </p:txBody>
      </p:sp>
      <p:pic>
        <p:nvPicPr>
          <p:cNvPr id="5" name="Рисунок 18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88042" y="2936755"/>
            <a:ext cx="35006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>
                <a:solidFill>
                  <a:srgbClr val="00338D"/>
                </a:solidFill>
                <a:latin typeface="Arial" pitchFamily="34" charset="0"/>
                <a:cs typeface="Arial" pitchFamily="34" charset="0"/>
              </a:rPr>
              <a:t>Количество предприятий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13" y="1325562"/>
            <a:ext cx="1985578" cy="158349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318" y="3645988"/>
            <a:ext cx="2790092" cy="209256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8120" y="1096207"/>
            <a:ext cx="2500367" cy="18752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8121" y="3624942"/>
            <a:ext cx="2882202" cy="21136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Прямоугольник 13"/>
          <p:cNvSpPr/>
          <p:nvPr/>
        </p:nvSpPr>
        <p:spPr>
          <a:xfrm>
            <a:off x="3478900" y="1932645"/>
            <a:ext cx="13844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6 место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в СФО</a:t>
            </a:r>
            <a:endParaRPr lang="ru-RU" b="1" i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71792" y="6042093"/>
            <a:ext cx="44715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 </a:t>
            </a:r>
            <a:r>
              <a:rPr lang="ru-RU" b="1" i="1" dirty="0">
                <a:solidFill>
                  <a:srgbClr val="00338D"/>
                </a:solidFill>
              </a:rPr>
              <a:t>Средняя численность работников</a:t>
            </a:r>
            <a:endParaRPr lang="ru-RU" b="1" i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461410" y="4662923"/>
            <a:ext cx="13844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4 место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в СФО</a:t>
            </a:r>
            <a:endParaRPr lang="ru-RU" b="1" i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498121" y="2943187"/>
            <a:ext cx="43794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>
                <a:solidFill>
                  <a:srgbClr val="00338D"/>
                </a:solidFill>
              </a:rPr>
              <a:t>Инвестиции в основной капитал</a:t>
            </a:r>
            <a:endParaRPr lang="ru-RU" b="1" i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106665" y="1939077"/>
            <a:ext cx="14191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7 место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в СФО</a:t>
            </a:r>
            <a:endParaRPr lang="ru-RU" b="1" i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519867" y="6048525"/>
            <a:ext cx="35006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>
                <a:solidFill>
                  <a:srgbClr val="00338D"/>
                </a:solidFill>
              </a:rPr>
              <a:t>Оборот предприятий</a:t>
            </a:r>
            <a:endParaRPr lang="ru-RU" b="1" i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139416" y="4669355"/>
            <a:ext cx="13844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 место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в СФО</a:t>
            </a:r>
            <a:endParaRPr lang="ru-RU" b="1" i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261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05580" name="Group 55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37830379"/>
              </p:ext>
            </p:extLst>
          </p:nvPr>
        </p:nvGraphicFramePr>
        <p:xfrm>
          <a:off x="173038" y="626755"/>
          <a:ext cx="9588182" cy="6064365"/>
        </p:xfrm>
        <a:graphic>
          <a:graphicData uri="http://schemas.openxmlformats.org/drawingml/2006/table">
            <a:tbl>
              <a:tblPr/>
              <a:tblGrid>
                <a:gridCol w="723576"/>
                <a:gridCol w="2098408"/>
                <a:gridCol w="1790415"/>
                <a:gridCol w="721984"/>
                <a:gridCol w="2291537"/>
                <a:gridCol w="1962262"/>
              </a:tblGrid>
              <a:tr h="37947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Место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аименование территории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оличество предприятий , ед.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Место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аименование территории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Средняя численность работников, чел.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оссийская Федерация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 062 38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оссийская Федерац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 695 196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Сибирский Федеральный Округ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90 066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Сибирский Федеральный Округ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 448 48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овосибирская обла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2 79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овосибирская обла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87 94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расноярский кра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2 384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раснояр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21 32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Алтайский кра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5 596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емеров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00 85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емеровская обла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3 585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Иркут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84 59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9 20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Алтай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79 88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Иркут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8 91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53 97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Томская обла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0 76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Томская обла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2 03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Бурят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 99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Бурятия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4 60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Алт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 26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Забайкальский кра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2 96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Хакас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 39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Хакасия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2 83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Забайкаль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 60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Алта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 74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Тыва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 560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Тыва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 72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5354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Место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аименование территории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Оборот предприятий, млрд. рубле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Место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аименование территории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Инвестиции в основной капитал, млрд. рублей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оссийская Федерац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4 77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оссийская Федерац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74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Сибирский Федеральный Округ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 636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 charset="0"/>
                        </a:rPr>
                        <a:t> 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Сибирский Федеральный Округ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CC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овосибир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5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Новосибир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0,9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раснояр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93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Алтай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0,7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Иркут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8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емеров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8,7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7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раснояр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,7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Кемеров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26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,8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Алтай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28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Т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,9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Том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35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Иркутская область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,3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/>
                    </a:solidFill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Забайкаль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3,5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Алт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,2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Бурят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63,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Забайкальский кр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,0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Хакас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39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Бурятия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0,7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739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Алтай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0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Тыва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0,6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Тыва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7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12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Республика Хакасия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ts val="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charset="0"/>
                        </a:rPr>
                        <a:t>0,3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5199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>
              <a:latin typeface="Arial" charset="0"/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9906000" cy="993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52001" name="Рисунок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3038" y="63500"/>
            <a:ext cx="333375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52002" name="Title 1"/>
          <p:cNvSpPr txBox="1">
            <a:spLocks/>
          </p:cNvSpPr>
          <p:nvPr/>
        </p:nvSpPr>
        <p:spPr bwMode="gray">
          <a:xfrm>
            <a:off x="2289175" y="115888"/>
            <a:ext cx="75438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ru-RU" b="1">
                <a:solidFill>
                  <a:srgbClr val="00338D"/>
                </a:solidFill>
              </a:rPr>
              <a:t>Рейтинг Иркутской области в СФО(малые и микропредприятия)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85725" y="447675"/>
            <a:ext cx="22034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Министерство экономического развит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Иркутской области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>
                    <a:lumMod val="50000"/>
                  </a:schemeClr>
                </a:solidFill>
                <a:latin typeface="+mn-lt"/>
                <a:cs typeface="+mn-cs"/>
              </a:rPr>
              <a:t>Минэкономразвития России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4.03"/>
  <p:tag name="TYPE" val="Report"/>
  <p:tag name="KEYWORD" val="REPORT"/>
  <p:tag name="TEMPLATEVERSION" val="19/11/2010 20:11:52"/>
  <p:tag name="COMPANY" val="KPMG"/>
  <p:tag name="STAMPED" val="true"/>
  <p:tag name="COLORS" val="&lt;?xml version=&quot;1.0&quot; encoding=&quot;utf-16&quot;?&gt;&#10;&lt;ArrayOfColorCatalogItem xmlns:xsi=&quot;http://www.w3.org/2001/XMLSchema-instance&quot; xmlns:xsd=&quot;http://www.w3.org/2001/XMLSchema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7461491&lt;/Argb&gt;&#10;    &lt;ColorType&gt;Text&lt;/ColorType&gt;&#10;    &lt;Index&gt;7&lt;/Index&gt;&#10;  &lt;/ColorCatalogItem&gt;&#10;  &lt;ColorCatalogItem&gt;&#10;    &lt;Argb&gt;-7461491&lt;/Argb&gt;&#10;    &lt;ColorType&gt;Border&lt;/ColorType&gt;&#10;    &lt;Index&gt;7&lt;/Index&gt;&#10;  &lt;/ColorCatalogItem&gt;&#10;  &lt;ColorCatalogItem&gt;&#10;    &lt;Argb&gt;-7461491&lt;/Argb&gt;&#10;    &lt;ColorType&gt;Fill&lt;/ColorType&gt;&#10;    &lt;Index&gt;7&lt;/Index&gt;&#10;  &lt;/ColorCatalogItem&gt;&#10;  &lt;ColorCatalogItem&gt;&#10;    &lt;Argb&gt;-5612374&lt;/Argb&gt;&#10;    &lt;ColorType&gt;Text&lt;/ColorType&gt;&#10;    &lt;Index&gt;8&lt;/Index&gt;&#10;  &lt;/ColorCatalogItem&gt;&#10;  &lt;ColorCatalogItem&gt;&#10;    &lt;Argb&gt;-5612374&lt;/Argb&gt;&#10;    &lt;ColorType&gt;Border&lt;/ColorType&gt;&#10;    &lt;Index&gt;8&lt;/Index&gt;&#10;  &lt;/ColorCatalogItem&gt;&#10;  &lt;ColorCatalogItem&gt;&#10;    &lt;Argb&gt;-5612374&lt;/Argb&gt;&#10;    &lt;ColorType&gt;Fill&lt;/ColorType&gt;&#10;    &lt;Index&gt;8&lt;/Index&gt;&#10;  &lt;/ColorCatalogItem&gt;&#10;  &lt;ColorCatalogItem&gt;&#10;    &lt;Argb&gt;-3697978&lt;/Argb&gt;&#10;    &lt;ColorType&gt;Text&lt;/ColorType&gt;&#10;    &lt;Index&gt;9&lt;/Index&gt;&#10;  &lt;/ColorCatalogItem&gt;&#10;  &lt;ColorCatalogItem&gt;&#10;    &lt;Argb&gt;-3697978&lt;/Argb&gt;&#10;    &lt;ColorType&gt;Border&lt;/ColorType&gt;&#10;    &lt;Index&gt;9&lt;/Index&gt;&#10;  &lt;/ColorCatalogItem&gt;&#10;  &lt;ColorCatalogItem&gt;&#10;    &lt;Argb&gt;-3697978&lt;/Argb&gt;&#10;    &lt;ColorType&gt;Fill&lt;/ColorType&gt;&#10;    &lt;Index&gt;9&lt;/Index&gt;&#10;  &lt;/ColorCatalogItem&gt;&#10;  &lt;ColorCatalogItem&gt;&#10;    &lt;Argb&gt;-1848861&lt;/Argb&gt;&#10;    &lt;ColorType&gt;Text&lt;/ColorType&gt;&#10;    &lt;Index&gt;10&lt;/Index&gt;&#10;  &lt;/ColorCatalogItem&gt;&#10;  &lt;ColorCatalogItem&gt;&#10;    &lt;Argb&gt;-1848861&lt;/Argb&gt;&#10;    &lt;ColorType&gt;Border&lt;/ColorType&gt;&#10;    &lt;Index&gt;10&lt;/Index&gt;&#10;  &lt;/ColorCatalogItem&gt;&#10;  &lt;ColorCatalogItem&gt;&#10;    &lt;Argb&gt;-1848861&lt;/Argb&gt;&#10;    &lt;ColorType&gt;Fill&lt;/ColorType&gt;&#10;    &lt;Index&gt;10&lt;/Index&gt;&#10;  &lt;/ColorCatalogItem&gt;&#10;  &lt;ColorCatalogItem&gt;&#10;    &lt;Argb&gt;-792077&lt;/Argb&gt;&#10;    &lt;ColorType&gt;Text&lt;/ColorType&gt;&#10;    &lt;Index&gt;11&lt;/Index&gt;&#10;  &lt;/ColorCatalogItem&gt;&#10;  &lt;ColorCatalogItem&gt;&#10;    &lt;Argb&gt;-792077&lt;/Argb&gt;&#10;    &lt;ColorType&gt;Border&lt;/ColorType&gt;&#10;    &lt;Index&gt;11&lt;/Index&gt;&#10;  &lt;/ColorCatalogItem&gt;&#10;  &lt;ColorCatalogItem&gt;&#10;    &lt;Argb&gt;-792077&lt;/Argb&gt;&#10;    &lt;ColorType&gt;Fill&lt;/ColorType&gt;&#10;    &lt;Index&gt;11&lt;/Index&gt;&#10;  &lt;/ColorCatalogItem&gt;&#10;  &lt;ColorCatalogItem&gt;&#10;    &lt;Argb&gt;-5792144&lt;/Argb&gt;&#10;    &lt;ColorType&gt;Text&lt;/ColorType&gt;&#10;    &lt;Index&gt;12&lt;/Index&gt;&#10;  &lt;/ColorCatalogItem&gt;&#10;  &lt;ColorCatalogItem&gt;&#10;    &lt;Argb&gt;-5792144&lt;/Argb&gt;&#10;    &lt;ColorType&gt;Border&lt;/ColorType&gt;&#10;    &lt;Index&gt;12&lt;/Index&gt;&#10;  &lt;/ColorCatalogItem&gt;&#10;  &lt;ColorCatalogItem&gt;&#10;    &lt;Argb&gt;-5792144&lt;/Argb&gt;&#10;    &lt;ColorType&gt;Fill&lt;/ColorType&gt;&#10;    &lt;Index&gt;12&lt;/Index&gt;&#10;  &lt;/ColorCatalogItem&gt;&#10;  &lt;ColorCatalogItem&gt;&#10;    &lt;Argb&gt;-4344172&lt;/Argb&gt;&#10;    &lt;ColorType&gt;Text&lt;/ColorType&gt;&#10;    &lt;Index&gt;13&lt;/Index&gt;&#10;  &lt;/ColorCatalogItem&gt;&#10;  &lt;ColorCatalogItem&gt;&#10;    &lt;Argb&gt;-4344172&lt;/Argb&gt;&#10;    &lt;ColorType&gt;Border&lt;/ColorType&gt;&#10;    &lt;Index&gt;13&lt;/Index&gt;&#10;  &lt;/ColorCatalogItem&gt;&#10;  &lt;ColorCatalogItem&gt;&#10;    &lt;Argb&gt;-4344172&lt;/Argb&gt;&#10;    &lt;ColorType&gt;Fill&lt;/ColorType&gt;&#10;    &lt;Index&gt;13&lt;/Index&gt;&#10;  &lt;/ColorCatalogItem&gt;&#10;  &lt;ColorCatalogItem&gt;&#10;    &lt;Argb&gt;-2895944&lt;/Argb&gt;&#10;    &lt;ColorType&gt;Text&lt;/ColorType&gt;&#10;    &lt;Index&gt;14&lt;/Index&gt;&#10;  &lt;/ColorCatalogItem&gt;&#10;  &lt;ColorCatalogItem&gt;&#10;    &lt;Argb&gt;-2895944&lt;/Argb&gt;&#10;    &lt;ColorType&gt;Border&lt;/ColorType&gt;&#10;    &lt;Index&gt;14&lt;/Index&gt;&#10;  &lt;/ColorCatalogItem&gt;&#10;  &lt;ColorCatalogItem&gt;&#10;    &lt;Argb&gt;-2895944&lt;/Argb&gt;&#10;    &lt;ColorType&gt;Fill&lt;/ColorType&gt;&#10;    &lt;Index&gt;14&lt;/Index&gt;&#10;  &lt;/ColorCatalogItem&gt;&#10;  &lt;ColorCatalogItem&gt;&#10;    &lt;Argb&gt;-1447973&lt;/Argb&gt;&#10;    &lt;ColorType&gt;Text&lt;/ColorType&gt;&#10;    &lt;Index&gt;15&lt;/Index&gt;&#10;  &lt;/ColorCatalogItem&gt;&#10;  &lt;ColorCatalogItem&gt;&#10;    &lt;Argb&gt;-1447973&lt;/Argb&gt;&#10;    &lt;ColorType&gt;Border&lt;/ColorType&gt;&#10;    &lt;Index&gt;15&lt;/Index&gt;&#10;  &lt;/ColorCatalogItem&gt;&#10;  &lt;ColorCatalogItem&gt;&#10;    &lt;Argb&gt;-1447973&lt;/Argb&gt;&#10;    &lt;ColorType&gt;Fill&lt;/ColorType&gt;&#10;    &lt;Index&gt;15&lt;/Index&gt;&#10;  &lt;/ColorCatalogItem&gt;&#10;  &lt;ColorCatalogItem&gt;&#10;    &lt;Argb&gt;-592400&lt;/Argb&gt;&#10;    &lt;ColorType&gt;Text&lt;/ColorType&gt;&#10;    &lt;Index&gt;16&lt;/Index&gt;&#10;  &lt;/ColorCatalogItem&gt;&#10;  &lt;ColorCatalogItem&gt;&#10;    &lt;Argb&gt;-592400&lt;/Argb&gt;&#10;    &lt;ColorType&gt;Border&lt;/ColorType&gt;&#10;    &lt;Index&gt;16&lt;/Index&gt;&#10;  &lt;/ColorCatalogItem&gt;&#10;  &lt;ColorCatalogItem&gt;&#10;    &lt;Argb&gt;-592400&lt;/Argb&gt;&#10;    &lt;ColorType&gt;Fill&lt;/ColorType&gt;&#10;    &lt;Index&gt;16&lt;/Index&gt;&#10;  &lt;/ColorCatalogItem&gt;&#10;  &lt;ColorCatalogItem&gt;&#10;    &lt;Argb&gt;-8734720&lt;/Argb&gt;&#10;    &lt;ColorType&gt;Text&lt;/ColorType&gt;&#10;    &lt;Index&gt;17&lt;/Index&gt;&#10;  &lt;/ColorCatalogItem&gt;&#10;  &lt;ColorCatalogItem&gt;&#10;    &lt;Argb&gt;-8734720&lt;/Argb&gt;&#10;    &lt;ColorType&gt;Border&lt;/ColorType&gt;&#10;    &lt;Index&gt;17&lt;/Index&gt;&#10;  &lt;/ColorCatalogItem&gt;&#10;  &lt;ColorCatalogItem&gt;&#10;    &lt;Argb&gt;-8734720&lt;/Argb&gt;&#10;    &lt;ColorType&gt;Fill&lt;/ColorType&gt;&#10;    &lt;Index&gt;17&lt;/Index&gt;&#10;  &lt;/ColorCatalogItem&gt;&#10;  &lt;ColorCatalogItem&gt;&#10;    &lt;Argb&gt;-6567360&lt;/Argb&gt;&#10;    &lt;ColorType&gt;Text&lt;/ColorType&gt;&#10;    &lt;Index&gt;18&lt;/Index&gt;&#10;  &lt;/ColorCatalogItem&gt;&#10;  &lt;ColorCatalogItem&gt;&#10;    &lt;Argb&gt;-6567360&lt;/Argb&gt;&#10;    &lt;ColorType&gt;Border&lt;/ColorType&gt;&#10;    &lt;Index&gt;18&lt;/Index&gt;&#10;  &lt;/ColorCatalogItem&gt;&#10;  &lt;ColorCatalogItem&gt;&#10;    &lt;Argb&gt;-6567360&lt;/Argb&gt;&#10;    &lt;ColorType&gt;Fill&lt;/ColorType&gt;&#10;    &lt;Index&gt;18&lt;/Index&gt;&#10;  &lt;/ColorCatalogItem&gt;&#10;  &lt;ColorCatalogItem&gt;&#10;    &lt;Argb&gt;-4334464&lt;/Argb&gt;&#10;    &lt;ColorType&gt;Text&lt;/ColorType&gt;&#10;    &lt;Index&gt;19&lt;/Index&gt;&#10;  &lt;/ColorCatalogItem&gt;&#10;  &lt;ColorCatalogItem&gt;&#10;    &lt;Argb&gt;-4334464&lt;/Argb&gt;&#10;    &lt;ColorType&gt;Border&lt;/ColorType&gt;&#10;    &lt;Index&gt;19&lt;/Index&gt;&#10;  &lt;/ColorCatalogItem&gt;&#10;  &lt;ColorCatalogItem&gt;&#10;    &lt;Argb&gt;-4334464&lt;/Argb&gt;&#10;    &lt;ColorType&gt;Fill&lt;/ColorType&gt;&#10;    &lt;Index&gt;19&lt;/Index&gt;&#10;  &lt;/ColorCatalogItem&gt;&#10;  &lt;ColorCatalogItem&gt;&#10;    &lt;Argb&gt;-2167361&lt;/Argb&gt;&#10;    &lt;ColorType&gt;Text&lt;/ColorType&gt;&#10;    &lt;Index&gt;20&lt;/Index&gt;&#10;  &lt;/ColorCatalogItem&gt;&#10;  &lt;ColorCatalogItem&gt;&#10;    &lt;Argb&gt;-2167361&lt;/Argb&gt;&#10;    &lt;ColorType&gt;Border&lt;/ColorType&gt;&#10;    &lt;Index&gt;20&lt;/Index&gt;&#10;  &lt;/ColorCatalogItem&gt;&#10;  &lt;ColorCatalogItem&gt;&#10;    &lt;Argb&gt;-2167361&lt;/Argb&gt;&#10;    &lt;ColorType&gt;Fill&lt;/ColorType&gt;&#10;    &lt;Index&gt;20&lt;/Index&gt;&#10;  &lt;/ColorCatalogItem&gt;&#10;  &lt;ColorCatalogItem&gt;&#10;    &lt;Argb&gt;-919323&lt;/Argb&gt;&#10;    &lt;ColorType&gt;Text&lt;/ColorType&gt;&#10;    &lt;Index&gt;21&lt;/Index&gt;&#10;  &lt;/ColorCatalogItem&gt;&#10;  &lt;ColorCatalogItem&gt;&#10;    &lt;Argb&gt;-919323&lt;/Argb&gt;&#10;    &lt;ColorType&gt;Border&lt;/ColorType&gt;&#10;    &lt;Index&gt;21&lt;/Index&gt;&#10;  &lt;/ColorCatalogItem&gt;&#10;  &lt;ColorCatalogItem&gt;&#10;    &lt;Argb&gt;-919323&lt;/Argb&gt;&#10;    &lt;ColorType&gt;Fill&lt;/ColorType&gt;&#10;    &lt;Index&gt;21&lt;/Index&gt;&#10;  &lt;/ColorCatalogItem&gt;&#10;  &lt;ColorCatalogItem&gt;&#10;    &lt;Argb&gt;-16764019&lt;/Argb&gt;&#10;    &lt;ColorType&gt;Text&lt;/ColorType&gt;&#10;    &lt;Index&gt;22&lt;/Index&gt;&#10;  &lt;/ColorCatalogItem&gt;&#10;  &lt;ColorCatalogItem&gt;&#10;    &lt;Argb&gt;-16764019&lt;/Argb&gt;&#10;    &lt;ColorType&gt;Border&lt;/ColorType&gt;&#10;    &lt;Index&gt;22&lt;/Index&gt;&#10;  &lt;/ColorCatalogItem&gt;&#10;  &lt;ColorCatalogItem&gt;&#10;    &lt;Argb&gt;-16764019&lt;/Argb&gt;&#10;    &lt;ColorType&gt;Fill&lt;/ColorType&gt;&#10;    &lt;Index&gt;22&lt;/Index&gt;&#10;  &lt;/ColorCatalogItem&gt;&#10;  &lt;ColorCatalogItem&gt;&#10;    &lt;Argb&gt;-12556630&lt;/Argb&gt;&#10;    &lt;ColorType&gt;Text&lt;/ColorType&gt;&#10;    &lt;Index&gt;23&lt;/Index&gt;&#10;  &lt;/ColorCatalogItem&gt;&#10;  &lt;ColorCatalogItem&gt;&#10;    &lt;Argb&gt;-12556630&lt;/Argb&gt;&#10;    &lt;ColorType&gt;Border&lt;/ColorType&gt;&#10;    &lt;Index&gt;23&lt;/Index&gt;&#10;  &lt;/ColorCatalogItem&gt;&#10;  &lt;ColorCatalogItem&gt;&#10;    &lt;Argb&gt;-12556630&lt;/Argb&gt;&#10;    &lt;ColorType&gt;Fill&lt;/ColorType&gt;&#10;    &lt;Index&gt;23&lt;/Index&gt;&#10;  &lt;/ColorCatalogItem&gt;&#10;  &lt;ColorCatalogItem&gt;&#10;    &lt;Argb&gt;-8349242&lt;/Argb&gt;&#10;    &lt;ColorType&gt;Text&lt;/ColorType&gt;&#10;    &lt;Index&gt;24&lt;/Index&gt;&#10;  &lt;/ColorCatalogItem&gt;&#10;  &lt;ColorCatalogItem&gt;&#10;    &lt;Argb&gt;-8349242&lt;/Argb&gt;&#10;    &lt;ColorType&gt;Border&lt;/ColorType&gt;&#10;    &lt;Index&gt;24&lt;/Index&gt;&#10;  &lt;/ColorCatalogItem&gt;&#10;  &lt;ColorCatalogItem&gt;&#10;    &lt;Argb&gt;-8349242&lt;/Argb&gt;&#10;    &lt;ColorType&gt;Fill&lt;/ColorType&gt;&#10;    &lt;Index&gt;24&lt;/Index&gt;&#10;  &lt;/ColorCatalogItem&gt;&#10;  &lt;ColorCatalogItem&gt;&#10;    &lt;Argb&gt;-4207389&lt;/Argb&gt;&#10;    &lt;ColorType&gt;Text&lt;/ColorType&gt;&#10;    &lt;Index&gt;25&lt;/Index&gt;&#10;  &lt;/ColorCatalogItem&gt;&#10;  &lt;ColorCatalogItem&gt;&#10;    &lt;Argb&gt;-4207389&lt;/Argb&gt;&#10;    &lt;ColorType&gt;Border&lt;/ColorType&gt;&#10;    &lt;Index&gt;25&lt;/Index&gt;&#10;  &lt;/ColorCatalogItem&gt;&#10;  &lt;ColorCatalogItem&gt;&#10;    &lt;Argb&gt;-4207389&lt;/Argb&gt;&#10;    &lt;ColorType&gt;Fill&lt;/ColorType&gt;&#10;    &lt;Index&gt;25&lt;/Index&gt;&#10;  &lt;/ColorCatalogItem&gt;&#10;  &lt;ColorCatalogItem&gt;&#10;    &lt;Argb&gt;-1709325&lt;/Argb&gt;&#10;    &lt;ColorType&gt;Text&lt;/ColorType&gt;&#10;    &lt;Index&gt;26&lt;/Index&gt;&#10;  &lt;/ColorCatalogItem&gt;&#10;  &lt;ColorCatalogItem&gt;&#10;    &lt;Argb&gt;-1709325&lt;/Argb&gt;&#10;    &lt;ColorType&gt;Border&lt;/ColorType&gt;&#10;    &lt;Index&gt;26&lt;/Index&gt;&#10;  &lt;/ColorCatalogItem&gt;&#10;  &lt;ColorCatalogItem&gt;&#10;    &lt;Argb&gt;-1709325&lt;/Argb&gt;&#10;    &lt;ColorType&gt;Fill&lt;/ColorType&gt;&#10;    &lt;Index&gt;26&lt;/Index&gt;&#10;  &lt;/ColorCatalogItem&gt;&#10;  &lt;ColorCatalogItem&gt;&#10;    &lt;Argb&gt;-3650048&lt;/Argb&gt;&#10;    &lt;ColorType&gt;Text&lt;/ColorType&gt;&#10;    &lt;Index&gt;27&lt;/Index&gt;&#10;  &lt;/ColorCatalogItem&gt;&#10;  &lt;ColorCatalogItem&gt;&#10;    &lt;Argb&gt;-3650048&lt;/Argb&gt;&#10;    &lt;ColorType&gt;Border&lt;/ColorType&gt;&#10;    &lt;Index&gt;27&lt;/Index&gt;&#10;  &lt;/ColorCatalogItem&gt;&#10;  &lt;ColorCatalogItem&gt;&#10;    &lt;Argb&gt;-3650048&lt;/Argb&gt;&#10;    &lt;ColorType&gt;Fill&lt;/ColorType&gt;&#10;    &lt;Index&gt;27&lt;/Index&gt;&#10;  &lt;/ColorCatalogItem&gt;&#10;  &lt;ColorCatalogItem&gt;&#10;    &lt;Argb&gt;-2721216&lt;/Argb&gt;&#10;    &lt;ColorType&gt;Text&lt;/ColorType&gt;&#10;    &lt;Index&gt;28&lt;/Index&gt;&#10;  &lt;/ColorCatalogItem&gt;&#10;  &lt;ColorCatalogItem&gt;&#10;    &lt;Argb&gt;-2721216&lt;/Argb&gt;&#10;    &lt;ColorType&gt;Border&lt;/ColorType&gt;&#10;    &lt;Index&gt;28&lt;/Index&gt;&#10;  &lt;/ColorCatalogItem&gt;&#10;  &lt;ColorCatalogItem&gt;&#10;    &lt;Argb&gt;-2721216&lt;/Argb&gt;&#10;    &lt;ColorType&gt;Fill&lt;/ColorType&gt;&#10;    &lt;Index&gt;28&lt;/Index&gt;&#10;  &lt;/ColorCatalogItem&gt;&#10;  &lt;ColorCatalogItem&gt;&#10;    &lt;Argb&gt;-1857664&lt;/Argb&gt;&#10;    &lt;ColorType&gt;Text&lt;/ColorType&gt;&#10;    &lt;Index&gt;29&lt;/Index&gt;&#10;  &lt;/ColorCatalogItem&gt;&#10;  &lt;ColorCatalogItem&gt;&#10;    &lt;Argb&gt;-1857664&lt;/Argb&gt;&#10;    &lt;ColorType&gt;Border&lt;/ColorType&gt;&#10;    &lt;Index&gt;29&lt;/Index&gt;&#10;  &lt;/ColorCatalogItem&gt;&#10;  &lt;ColorCatalogItem&gt;&#10;    &lt;Argb&gt;-1857664&lt;/Argb&gt;&#10;    &lt;ColorType&gt;Fill&lt;/ColorType&gt;&#10;    &lt;Index&gt;29&lt;/Index&gt;&#10;  &lt;/ColorCatalogItem&gt;&#10;  &lt;ColorCatalogItem&gt;&#10;    &lt;Argb&gt;-928833&lt;/Argb&gt;&#10;    &lt;ColorType&gt;Text&lt;/ColorType&gt;&#10;    &lt;Index&gt;30&lt;/Index&gt;&#10;  &lt;/ColorCatalogItem&gt;&#10;  &lt;ColorCatalogItem&gt;&#10;    &lt;Argb&gt;-928833&lt;/Argb&gt;&#10;    &lt;ColorType&gt;Border&lt;/ColorType&gt;&#10;    &lt;Index&gt;30&lt;/Index&gt;&#10;  &lt;/ColorCatalogItem&gt;&#10;  &lt;ColorCatalogItem&gt;&#10;    &lt;Argb&gt;-928833&lt;/Argb&gt;&#10;    &lt;ColorType&gt;Fill&lt;/ColorType&gt;&#10;    &lt;Index&gt;30&lt;/Index&gt;&#10;  &lt;/ColorCatalogItem&gt;&#10;  &lt;ColorCatalogItem&gt;&#10;    &lt;Argb&gt;-397851&lt;/Argb&gt;&#10;    &lt;ColorType&gt;Text&lt;/ColorType&gt;&#10;    &lt;Index&gt;31&lt;/Index&gt;&#10;  &lt;/ColorCatalogItem&gt;&#10;  &lt;ColorCatalogItem&gt;&#10;    &lt;Argb&gt;-397851&lt;/Argb&gt;&#10;    &lt;ColorType&gt;Border&lt;/ColorType&gt;&#10;    &lt;Index&gt;31&lt;/Index&gt;&#10;  &lt;/ColorCatalogItem&gt;&#10;  &lt;ColorCatalogItem&gt;&#10;    &lt;Argb&gt;-397851&lt;/Argb&gt;&#10;    &lt;ColorType&gt;Fill&lt;/ColorType&gt;&#10;    &lt;Index&gt;31&lt;/Index&gt;&#10;  &lt;/ColorCatalogItem&gt;&#10;&lt;/ArrayOfColorCatalogItem&gt;"/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fe&quot; g=&quot;c6&quot; b=&quot;5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D" val="00000000-0000-0000-0000-0000000000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" val="bip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heme/theme1.xml><?xml version="1.0" encoding="utf-8"?>
<a:theme xmlns:a="http://schemas.openxmlformats.org/drawingml/2006/main" name="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10.xml><?xml version="1.0" encoding="utf-8"?>
<a:theme xmlns:a="http://schemas.openxmlformats.org/drawingml/2006/main" name="7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7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11.xml><?xml version="1.0" encoding="utf-8"?>
<a:theme xmlns:a="http://schemas.openxmlformats.org/drawingml/2006/main" name="8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8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12.xml><?xml version="1.0" encoding="utf-8"?>
<a:theme xmlns:a="http://schemas.openxmlformats.org/drawingml/2006/main" name="9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9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13.xml><?xml version="1.0" encoding="utf-8"?>
<a:theme xmlns:a="http://schemas.openxmlformats.org/drawingml/2006/main" name="10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10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14.xml><?xml version="1.0" encoding="utf-8"?>
<a:theme xmlns:a="http://schemas.openxmlformats.org/drawingml/2006/main" name="KPMG GSG Template Russian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GSG Template Russian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  <a:extLst>
    <a:ext uri="{05A4C25C-085E-4340-85A3-A5531E510DB2}">
      <thm15:themeFamily xmlns:thm15="http://schemas.microsoft.com/office/thememl/2012/main" name="Presentation3" id="{171D0081-C687-4642-94DA-089A0D1059F3}" vid="{EF9B7CF9-ACCE-43BF-81C5-7E63AB190EFB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PMG REPORT A4_r_ZAO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REPORT A4_r_ZAO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3.xml><?xml version="1.0" encoding="utf-8"?>
<a:theme xmlns:a="http://schemas.openxmlformats.org/drawingml/2006/main" name="1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1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4.xml><?xml version="1.0" encoding="utf-8"?>
<a:theme xmlns:a="http://schemas.openxmlformats.org/drawingml/2006/main" name="2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2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5.xml><?xml version="1.0" encoding="utf-8"?>
<a:theme xmlns:a="http://schemas.openxmlformats.org/drawingml/2006/main" name="3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3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6.xml><?xml version="1.0" encoding="utf-8"?>
<a:theme xmlns:a="http://schemas.openxmlformats.org/drawingml/2006/main" name="1_KPMG REPORT A4_r_ZAO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1_KPMG REPORT A4_r_ZAO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7.xml><?xml version="1.0" encoding="utf-8"?>
<a:theme xmlns:a="http://schemas.openxmlformats.org/drawingml/2006/main" name="4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4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8.xml><?xml version="1.0" encoding="utf-8"?>
<a:theme xmlns:a="http://schemas.openxmlformats.org/drawingml/2006/main" name="5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5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9.xml><?xml version="1.0" encoding="utf-8"?>
<a:theme xmlns:a="http://schemas.openxmlformats.org/drawingml/2006/main" name="6_CREATE REPORT A4">
  <a:themeElements>
    <a:clrScheme name="KPMG Colours">
      <a:dk1>
        <a:srgbClr val="000000"/>
      </a:dk1>
      <a:lt1>
        <a:srgbClr val="FFFFFF"/>
      </a:lt1>
      <a:dk2>
        <a:srgbClr val="E9E7DB"/>
      </a:dk2>
      <a:lt2>
        <a:srgbClr val="D3CFB8"/>
      </a:lt2>
      <a:accent1>
        <a:srgbClr val="80BEC9"/>
      </a:accent1>
      <a:accent2>
        <a:srgbClr val="BFDEE4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D9B7BF"/>
      </a:hlink>
      <a:folHlink>
        <a:srgbClr val="ECDBDF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007C9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7989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6_CREATE REPORT A4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91</TotalTime>
  <Words>2419</Words>
  <Application>Microsoft Office PowerPoint</Application>
  <PresentationFormat>Лист A4 (210x297 мм)</PresentationFormat>
  <Paragraphs>639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8" baseType="lpstr">
      <vt:lpstr>Arial</vt:lpstr>
      <vt:lpstr>Arial Cyr</vt:lpstr>
      <vt:lpstr>AvantGardeCTT</vt:lpstr>
      <vt:lpstr>Calibri</vt:lpstr>
      <vt:lpstr>Corbel</vt:lpstr>
      <vt:lpstr>Tahoma</vt:lpstr>
      <vt:lpstr>Times New Roman</vt:lpstr>
      <vt:lpstr>Wingdings</vt:lpstr>
      <vt:lpstr>CREATE REPORT A4</vt:lpstr>
      <vt:lpstr>KPMG REPORT A4_r_ZAO</vt:lpstr>
      <vt:lpstr>1_CREATE REPORT A4</vt:lpstr>
      <vt:lpstr>2_CREATE REPORT A4</vt:lpstr>
      <vt:lpstr>3_CREATE REPORT A4</vt:lpstr>
      <vt:lpstr>1_KPMG REPORT A4_r_ZAO</vt:lpstr>
      <vt:lpstr>4_CREATE REPORT A4</vt:lpstr>
      <vt:lpstr>5_CREATE REPORT A4</vt:lpstr>
      <vt:lpstr>6_CREATE REPORT A4</vt:lpstr>
      <vt:lpstr>7_CREATE REPORT A4</vt:lpstr>
      <vt:lpstr>8_CREATE REPORT A4</vt:lpstr>
      <vt:lpstr>9_CREATE REPORT A4</vt:lpstr>
      <vt:lpstr>10_CREATE REPORT A4</vt:lpstr>
      <vt:lpstr>KPMG GSG Template Russian</vt:lpstr>
      <vt:lpstr>think-cell Slide</vt:lpstr>
      <vt:lpstr>Презентация PowerPoint</vt:lpstr>
      <vt:lpstr>Доля МСП в ВВП</vt:lpstr>
      <vt:lpstr>Количество предприятий МСП</vt:lpstr>
      <vt:lpstr>Влияние сектора МСП на социально-экономическое развитие Иркутской области</vt:lpstr>
      <vt:lpstr>Презентация PowerPoint</vt:lpstr>
      <vt:lpstr>Презентация PowerPoint</vt:lpstr>
      <vt:lpstr>Соотношение ВРП, видов деятельности и оборота</vt:lpstr>
      <vt:lpstr>Презентация PowerPoint</vt:lpstr>
      <vt:lpstr>Презентация PowerPoint</vt:lpstr>
      <vt:lpstr>Программа Министерства экономического развития РФ</vt:lpstr>
      <vt:lpstr>Большинство регионов создают инфраструктуру для развития сектора МСП благодаря участию в Программе МЭР</vt:lpstr>
      <vt:lpstr>Презентация PowerPoint</vt:lpstr>
      <vt:lpstr>Презентация PowerPoint</vt:lpstr>
      <vt:lpstr>Презентация PowerPoint</vt:lpstr>
      <vt:lpstr>СПАСИБО ЗА ВНИМАНЕ</vt:lpstr>
    </vt:vector>
  </TitlesOfParts>
  <Company>bg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akov Bronfman</dc:creator>
  <cp:lastModifiedBy>1</cp:lastModifiedBy>
  <cp:revision>1529</cp:revision>
  <cp:lastPrinted>2014-11-12T08:23:47Z</cp:lastPrinted>
  <dcterms:created xsi:type="dcterms:W3CDTF">2011-09-29T05:40:30Z</dcterms:created>
  <dcterms:modified xsi:type="dcterms:W3CDTF">2014-11-20T03:29:39Z</dcterms:modified>
</cp:coreProperties>
</file>